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6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7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8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9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8" r:id="rId1"/>
    <p:sldMasterId id="2147483956" r:id="rId2"/>
    <p:sldMasterId id="2147483959" r:id="rId3"/>
    <p:sldMasterId id="2147483960" r:id="rId4"/>
    <p:sldMasterId id="2147483962" r:id="rId5"/>
    <p:sldMasterId id="2147483963" r:id="rId6"/>
    <p:sldMasterId id="2147483964" r:id="rId7"/>
    <p:sldMasterId id="2147483965" r:id="rId8"/>
    <p:sldMasterId id="2147483966" r:id="rId9"/>
    <p:sldMasterId id="2147483967" r:id="rId10"/>
  </p:sldMasterIdLst>
  <p:notesMasterIdLst>
    <p:notesMasterId r:id="rId28"/>
  </p:notesMasterIdLst>
  <p:handoutMasterIdLst>
    <p:handoutMasterId r:id="rId29"/>
  </p:handoutMasterIdLst>
  <p:sldIdLst>
    <p:sldId id="843" r:id="rId11"/>
    <p:sldId id="910" r:id="rId12"/>
    <p:sldId id="932" r:id="rId13"/>
    <p:sldId id="931" r:id="rId14"/>
    <p:sldId id="844" r:id="rId15"/>
    <p:sldId id="921" r:id="rId16"/>
    <p:sldId id="922" r:id="rId17"/>
    <p:sldId id="923" r:id="rId18"/>
    <p:sldId id="924" r:id="rId19"/>
    <p:sldId id="925" r:id="rId20"/>
    <p:sldId id="926" r:id="rId21"/>
    <p:sldId id="927" r:id="rId22"/>
    <p:sldId id="928" r:id="rId23"/>
    <p:sldId id="929" r:id="rId24"/>
    <p:sldId id="887" r:id="rId25"/>
    <p:sldId id="930" r:id="rId26"/>
    <p:sldId id="873" r:id="rId27"/>
  </p:sldIdLst>
  <p:sldSz cx="9144000" cy="5143500" type="screen16x9"/>
  <p:notesSz cx="7010400" cy="9296400"/>
  <p:custDataLst>
    <p:tags r:id="rId30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91CD"/>
    <a:srgbClr val="006666"/>
    <a:srgbClr val="1A3A00"/>
    <a:srgbClr val="397E00"/>
    <a:srgbClr val="996633"/>
    <a:srgbClr val="663300"/>
    <a:srgbClr val="A5C7E5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826" autoAdjust="0"/>
    <p:restoredTop sz="85613" autoAdjust="0"/>
  </p:normalViewPr>
  <p:slideViewPr>
    <p:cSldViewPr snapToGrid="0">
      <p:cViewPr>
        <p:scale>
          <a:sx n="97" d="100"/>
          <a:sy n="97" d="100"/>
        </p:scale>
        <p:origin x="-372" y="-102"/>
      </p:cViewPr>
      <p:guideLst>
        <p:guide orient="horz" pos="215"/>
        <p:guide orient="horz" pos="1619"/>
        <p:guide orient="horz" pos="3134"/>
        <p:guide orient="horz" pos="2798"/>
        <p:guide orient="horz" pos="861"/>
        <p:guide pos="296"/>
        <p:guide pos="5473"/>
        <p:guide pos="2880"/>
        <p:guide pos="54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8850"/>
    </p:cViewPr>
  </p:sorterViewPr>
  <p:notesViewPr>
    <p:cSldViewPr snapToGrid="0">
      <p:cViewPr>
        <p:scale>
          <a:sx n="200" d="100"/>
          <a:sy n="200" d="100"/>
        </p:scale>
        <p:origin x="-1212" y="930"/>
      </p:cViewPr>
      <p:guideLst>
        <p:guide orient="horz" pos="5677"/>
        <p:guide pos="24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/>
          <p:cNvSpPr>
            <a:spLocks noGrp="1"/>
          </p:cNvSpPr>
          <p:nvPr>
            <p:ph type="dt" idx="1"/>
          </p:nvPr>
        </p:nvSpPr>
        <p:spPr>
          <a:xfrm>
            <a:off x="5476875" y="9012238"/>
            <a:ext cx="1238250" cy="27305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marL="0" algn="r" defTabSz="931774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3E217F78-28E2-4AC4-8E66-1FA15DAEC0F6}" type="datetime3">
              <a:rPr lang="en-US"/>
              <a:pPr>
                <a:defRPr/>
              </a:pPr>
              <a:t>21 April 2015</a:t>
            </a:fld>
            <a:endParaRPr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295275" y="9012238"/>
            <a:ext cx="1249363" cy="27305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pPr>
              <a:defRPr/>
            </a:pPr>
            <a:r>
              <a:rPr lang="en-US"/>
              <a:t>HP Confidential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194050" y="9012238"/>
            <a:ext cx="609600" cy="27305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marL="0" algn="ctr" defTabSz="931774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1203169-7A4C-4439-94FF-65B52BD2E4BF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Header Placeholder 1"/>
          <p:cNvSpPr>
            <a:spLocks noGrp="1"/>
          </p:cNvSpPr>
          <p:nvPr>
            <p:ph type="hdr" sz="quarter"/>
          </p:nvPr>
        </p:nvSpPr>
        <p:spPr>
          <a:xfrm>
            <a:off x="295275" y="30163"/>
            <a:ext cx="3036888" cy="4651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Futura Bk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15922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95275" y="30163"/>
            <a:ext cx="3036888" cy="4651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Futura Bk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76875" y="9012238"/>
            <a:ext cx="1238250" cy="27305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marL="0" algn="r" defTabSz="931774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CB00817D-D5E2-4937-943C-7AF10ED03914}" type="datetime3">
              <a:rPr lang="en-US"/>
              <a:pPr>
                <a:defRPr/>
              </a:pPr>
              <a:t>21 April 2015</a:t>
            </a:fld>
            <a:endParaRPr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95275" y="4416425"/>
            <a:ext cx="6419850" cy="4183063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  <a:p>
            <a:pPr lvl="4"/>
            <a:r>
              <a:rPr lang="en-US" noProof="0" dirty="0" smtClean="0"/>
              <a:t>Fourth level</a:t>
            </a:r>
          </a:p>
          <a:p>
            <a:pPr lvl="6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95275" y="9012238"/>
            <a:ext cx="1249363" cy="27305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Futura Bk" pitchFamily="34" charset="0"/>
              </a:defRPr>
            </a:lvl1pPr>
          </a:lstStyle>
          <a:p>
            <a:pPr>
              <a:defRPr/>
            </a:pPr>
            <a:r>
              <a:rPr lang="en-US"/>
              <a:t>HP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194050" y="9012238"/>
            <a:ext cx="609600" cy="27305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marL="0" algn="ctr" defTabSz="931774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800" kern="1200">
                <a:solidFill>
                  <a:schemeClr val="tx1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057505CE-7BAC-4DEE-9446-CB452F1F608E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94211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ts val="400"/>
      </a:spcBef>
      <a:spcAft>
        <a:spcPts val="600"/>
      </a:spcAft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1pPr>
    <a:lvl2pPr marL="112713" indent="-112713" algn="l" rtl="0" eaLnBrk="0" fontAlgn="base" hangingPunct="0">
      <a:spcBef>
        <a:spcPct val="30000"/>
      </a:spcBef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buFont typeface="Arial" pitchFamily="34" charset="0"/>
      <a:buChar char="•"/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3pPr>
    <a:lvl4pPr marL="338138" indent="-112713" algn="l" rtl="0" eaLnBrk="0" fontAlgn="base" hangingPunct="0">
      <a:spcBef>
        <a:spcPct val="30000"/>
      </a:spcBef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4pPr>
    <a:lvl5pPr marL="576263" indent="-112713" algn="l" rtl="0" eaLnBrk="0" fontAlgn="base" hangingPunct="0">
      <a:spcBef>
        <a:spcPct val="30000"/>
      </a:spcBef>
      <a:spcAft>
        <a:spcPts val="600"/>
      </a:spcAft>
      <a:buFont typeface="Arial" pitchFamily="34" charset="0"/>
      <a:buChar char="•"/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5pPr>
    <a:lvl6pPr marL="688975" indent="-225425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801688" indent="-112713" algn="l" defTabSz="914400" rtl="0" eaLnBrk="1" latinLnBrk="0" hangingPunct="1">
      <a:spcAft>
        <a:spcPts val="600"/>
      </a:spcAft>
      <a:buFont typeface="Arial" pitchFamily="34" charset="0"/>
      <a:buChar char="•"/>
      <a:tabLst/>
      <a:defRPr sz="1000" kern="1200">
        <a:solidFill>
          <a:schemeClr val="tx1"/>
        </a:solidFill>
        <a:latin typeface="Futura Bk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6" descr="iStock_000008023739Medium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11"/>
          <p:cNvSpPr/>
          <p:nvPr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>
                  <a:alpha val="90000"/>
                </a:srgbClr>
              </a:gs>
              <a:gs pos="15000">
                <a:srgbClr val="1E89C5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7" name="TextBox 5"/>
          <p:cNvSpPr txBox="1"/>
          <p:nvPr/>
        </p:nvSpPr>
        <p:spPr bwMode="gray">
          <a:xfrm>
            <a:off x="357188" y="4740275"/>
            <a:ext cx="30099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Futura Bk" pitchFamily="34" charset="0"/>
              </a:rPr>
              <a:t>©2011 Hewlett-Packard Development Company, L.P.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Futura Bk" pitchFamily="34" charset="0"/>
              </a:rPr>
              <a:t>The information contained herein is subject to change without notice.</a:t>
            </a:r>
          </a:p>
        </p:txBody>
      </p:sp>
      <p:sp>
        <p:nvSpPr>
          <p:cNvPr id="9" name="Freeform 13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>
            <a:gsLst>
              <a:gs pos="85000">
                <a:srgbClr val="00104D">
                  <a:alpha val="90000"/>
                </a:srgbClr>
              </a:gs>
              <a:gs pos="15000">
                <a:srgbClr val="1E89C5">
                  <a:alpha val="90000"/>
                </a:srgbClr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" name="Picture 14" descr="hp-logo-reversed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 descr="Purple-Shards.png"/>
          <p:cNvPicPr>
            <a:picLocks noChangeAspect="1"/>
          </p:cNvPicPr>
          <p:nvPr/>
        </p:nvPicPr>
        <p:blipFill>
          <a:blip r:embed="rId4" cstate="print"/>
          <a:srcRect b="15930"/>
          <a:stretch>
            <a:fillRect/>
          </a:stretch>
        </p:blipFill>
        <p:spPr bwMode="auto">
          <a:xfrm>
            <a:off x="3786188" y="1728788"/>
            <a:ext cx="1947862" cy="3414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5" descr="Purple-Shards.png"/>
          <p:cNvPicPr>
            <a:picLocks noChangeAspect="1"/>
          </p:cNvPicPr>
          <p:nvPr/>
        </p:nvPicPr>
        <p:blipFill>
          <a:blip r:embed="rId4" cstate="print"/>
          <a:srcRect t="6000" r="20557"/>
          <a:stretch>
            <a:fillRect/>
          </a:stretch>
        </p:blipFill>
        <p:spPr bwMode="auto">
          <a:xfrm>
            <a:off x="8115300" y="0"/>
            <a:ext cx="1028700" cy="2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 bwMode="black">
          <a:xfrm>
            <a:off x="328716" y="412890"/>
            <a:ext cx="5057324" cy="114888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4000"/>
              </a:lnSpc>
              <a:defRPr sz="2800" i="1" strike="noStrike" cap="all" baseline="0">
                <a:solidFill>
                  <a:srgbClr val="65CFE9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25456" y="1550182"/>
            <a:ext cx="4859864" cy="4135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1600" i="1" kern="1200" dirty="0" smtClean="0">
                <a:solidFill>
                  <a:srgbClr val="65CFE9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57089" y="3858421"/>
            <a:ext cx="4426784" cy="701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400" i="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084E0-2086-4D54-9615-9D05A75570AA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2CF7DD-2982-4856-8A9A-6BE5B104AC6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136525"/>
            <a:ext cx="2093913" cy="44926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136525"/>
            <a:ext cx="6129337" cy="44926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2F2463-5BD6-4765-B3F2-3C142ECAA5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420235-BE03-4AEE-A764-8DBFB8D269F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EAEF46-E53D-4FBB-98D4-0E24D379D4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125" y="1152525"/>
            <a:ext cx="4097338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152525"/>
            <a:ext cx="4098925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444C64-015D-42E0-9C5E-261C05B1119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53BFC5-7891-4363-97DF-C39DF578F81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367296-7566-4D82-B776-DA851EB673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2963C2-A374-45A6-88EF-3BC489A8C1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ine with Subtitle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ECD90-9631-4D3A-B1A3-E367B25D2D6F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158C80-D27E-4356-9FCD-4997208C1EDA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888061-9E5A-47F5-A792-3AA211CC2E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15B62-CD4E-47AF-AE7F-694C1FFF72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6EC9C-A87E-4B16-84C0-AC995964563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315913"/>
            <a:ext cx="2093913" cy="429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315913"/>
            <a:ext cx="6129337" cy="429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E0258C-2B5B-41E1-9712-4E98AD68082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125" y="1152525"/>
            <a:ext cx="4097338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152525"/>
            <a:ext cx="4098925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161401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83271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D7E33D-0C2E-4ADB-B3B9-5D1F8B409034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B8A2E1-9091-4186-9A2C-E8482F2BB7B3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315913"/>
            <a:ext cx="2093913" cy="429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315913"/>
            <a:ext cx="6129337" cy="429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125" y="1152525"/>
            <a:ext cx="4097338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152525"/>
            <a:ext cx="4098925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29C3FE-55D6-448C-B42E-84853C2AE3E9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AB9FAD-1CAA-4E79-8A14-1731A1C3CFA1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315913"/>
            <a:ext cx="2093913" cy="429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315913"/>
            <a:ext cx="6129337" cy="429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125" y="1152525"/>
            <a:ext cx="4097338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152525"/>
            <a:ext cx="4098925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P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88F18-D52E-4DE8-97D3-90C3B55C0798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E1F68C-D288-49B1-837D-AC210E65F263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315913"/>
            <a:ext cx="2093913" cy="429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315913"/>
            <a:ext cx="6129337" cy="429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itle 8"/>
          <p:cNvSpPr>
            <a:spLocks noGrp="1"/>
          </p:cNvSpPr>
          <p:nvPr>
            <p:ph type="title"/>
          </p:nvPr>
        </p:nvSpPr>
        <p:spPr>
          <a:xfrm>
            <a:off x="371856" y="1142620"/>
            <a:ext cx="2792349" cy="3442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66933" y="1544904"/>
            <a:ext cx="2805320" cy="31345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Tx/>
              <a:buFont typeface="Futura Bk" pitchFamily="34" charset="0"/>
              <a:buNone/>
              <a:defRPr sz="1800">
                <a:solidFill>
                  <a:schemeClr val="bg1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378283" y="1136905"/>
            <a:ext cx="2686050" cy="344233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none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374136" y="1543050"/>
            <a:ext cx="5120640" cy="313652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4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8001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1028700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Date Placeholder 10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5BD2BC-0EA7-482B-95FC-B81712085DC1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F64AC7-CE82-490E-B8F6-631E773F8950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125" y="1152525"/>
            <a:ext cx="4097338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152525"/>
            <a:ext cx="4098925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 thruBlk="1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315913"/>
            <a:ext cx="2093913" cy="429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315913"/>
            <a:ext cx="6129337" cy="429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1476" y="1140552"/>
            <a:ext cx="2705099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190876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6013451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714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/>
          </p:nvPr>
        </p:nvSpPr>
        <p:spPr>
          <a:xfrm>
            <a:off x="31908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21"/>
          </p:nvPr>
        </p:nvSpPr>
        <p:spPr>
          <a:xfrm>
            <a:off x="60102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Date Placeholder 12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ADE9B6-DA4F-4C8E-9852-4437C5844892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10" name="Slide Number Placeholder 1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234818-D620-4E75-B71E-F87EF4C83630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8321040" cy="329184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8C4587-442B-4F42-AD81-4AF476E6244A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B09877-BF1F-438D-8C25-A7F0A8C86A29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4023360" cy="3254986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5"/>
          </p:nvPr>
        </p:nvSpPr>
        <p:spPr>
          <a:xfrm>
            <a:off x="4704080" y="1293541"/>
            <a:ext cx="4023360" cy="3254986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6B0ACB-C262-46A4-AB66-85A0626B95D1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2E3497-9772-4DF5-B086-D0B1FA6B8F9A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2"/>
          <p:cNvSpPr>
            <a:spLocks noGrp="1"/>
          </p:cNvSpPr>
          <p:nvPr>
            <p:ph sz="quarter" idx="15"/>
          </p:nvPr>
        </p:nvSpPr>
        <p:spPr>
          <a:xfrm>
            <a:off x="4704080" y="1293541"/>
            <a:ext cx="4023360" cy="3254987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365760" y="1293541"/>
            <a:ext cx="4023360" cy="3254987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4ED992-74F4-4DB9-B439-9BBC82D48948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118D2D-02F4-4595-A3B7-B1838EC14C49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Verb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9" descr="iStock_000008023739Medium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17"/>
          <p:cNvSpPr/>
          <p:nvPr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>
                  <a:alpha val="90000"/>
                </a:srgbClr>
              </a:gs>
              <a:gs pos="15000">
                <a:srgbClr val="1E89C5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7" name="Freeform 18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>
            <a:gsLst>
              <a:gs pos="85000">
                <a:srgbClr val="00104D">
                  <a:alpha val="90000"/>
                </a:srgbClr>
              </a:gs>
              <a:gs pos="15000">
                <a:srgbClr val="1E89C5">
                  <a:alpha val="90000"/>
                </a:srgbClr>
              </a:gs>
            </a:gsLst>
            <a:path path="circle">
              <a:fillToRect l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TextBox 5"/>
          <p:cNvSpPr txBox="1"/>
          <p:nvPr/>
        </p:nvSpPr>
        <p:spPr bwMode="gray">
          <a:xfrm>
            <a:off x="357188" y="4740275"/>
            <a:ext cx="30099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Futura Bk" pitchFamily="34" charset="0"/>
              </a:rPr>
              <a:t>©2010 Hewlett-Packard Development Company, L.P.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Futura Bk" pitchFamily="34" charset="0"/>
              </a:rPr>
              <a:t>The information contained herein is subject to change without notice</a:t>
            </a:r>
          </a:p>
        </p:txBody>
      </p:sp>
      <p:pic>
        <p:nvPicPr>
          <p:cNvPr id="10" name="Picture 14" descr="hp-logo-reversed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 descr="Purple-Shards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86188" y="1728788"/>
            <a:ext cx="1947862" cy="406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5" descr="Purple-Shards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300" y="-161925"/>
            <a:ext cx="1295400" cy="270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57089" y="3858421"/>
            <a:ext cx="4426784" cy="701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4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black">
          <a:xfrm>
            <a:off x="316841" y="436640"/>
            <a:ext cx="5057324" cy="114888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4000"/>
              </a:lnSpc>
              <a:defRPr sz="7200" i="1" strike="noStrike" cap="all" baseline="0">
                <a:solidFill>
                  <a:srgbClr val="65CFE9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1115306" y="1514555"/>
            <a:ext cx="4109838" cy="5755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1600" i="1" kern="1200" dirty="0" smtClean="0">
                <a:solidFill>
                  <a:srgbClr val="65CFE9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19050"/>
            <a:ext cx="8348472" cy="1666494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5"/>
          </p:nvPr>
        </p:nvSpPr>
        <p:spPr>
          <a:xfrm>
            <a:off x="365760" y="2955798"/>
            <a:ext cx="8348472" cy="1666494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C336E8-12D2-48CE-AC34-21C1AA934938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2DAE16-C684-4074-B3AA-6635B3FC8C15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583473"/>
            <a:ext cx="8348472" cy="303196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AFC6D1-E64E-4249-8341-EB6B4ABE9A20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E462DE-1915-454B-BCBA-2F0E49159FFD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1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2A4763-B884-4817-84C3-0EA7E7F3C1D7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5" name="Footer Placeholder 1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HP Confidential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E6A8D-39A8-4B62-8E7F-2AFB8C60CD74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  <p:transition>
    <p:fade thruBlk="1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1752E-93DD-437D-9B38-617D57CEDEEC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D57B80-A05E-42A9-8CA7-9B3BB5CA275B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365125" y="1293540"/>
            <a:ext cx="8348472" cy="3321893"/>
          </a:xfrm>
        </p:spPr>
        <p:txBody>
          <a:bodyPr rtlCol="0">
            <a:noAutofit/>
          </a:bodyPr>
          <a:lstStyle>
            <a:lvl1pPr>
              <a:buSzPct val="80000"/>
              <a:buFont typeface="Arial" pitchFamily="34" charset="0"/>
              <a:buChar char="•"/>
              <a:defRPr sz="1800"/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US" noProof="0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3A712-497D-4955-9A5F-8015A2FD3640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F3CD1-6524-4707-9EAA-FA0FF54B3703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/>
          <p:cNvSpPr>
            <a:spLocks noGrp="1"/>
          </p:cNvSpPr>
          <p:nvPr>
            <p:ph type="chart" sz="quarter" idx="14"/>
          </p:nvPr>
        </p:nvSpPr>
        <p:spPr>
          <a:xfrm>
            <a:off x="365125" y="1293540"/>
            <a:ext cx="8348472" cy="3321891"/>
          </a:xfrm>
        </p:spPr>
        <p:txBody>
          <a:bodyPr rtlCol="0">
            <a:noAutofit/>
          </a:bodyPr>
          <a:lstStyle>
            <a:lvl1pPr>
              <a:buSzPct val="80000"/>
              <a:buFont typeface="Arial" pitchFamily="34" charset="0"/>
              <a:buChar char="•"/>
              <a:defRPr sz="1800"/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F6F8C6-CAF8-4076-851D-8F6F4E519791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E6B80F-B8CB-4146-A890-08A1BDDBC739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7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7863840" cy="3740073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40B67C-61C0-4EE3-8566-C80B5E8B99B1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59CF37-E887-4462-A03E-0986A6C6C5F8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, Subtitle and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2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" name="Picture 18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78638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863421-7C8A-4915-8E3A-0DFE9CA5DAA9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50C3F1-91A0-4262-8C84-560758162C26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Subtitle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2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47E372-9A5C-4219-A0CF-4AA7F21CB9CF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7CE9FC-D382-487B-8851-0B0302538211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Only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" name="Picture 11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ED2464-4904-4855-9965-E6DC0A286174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56EC7E-CF08-4251-8106-9F85BAB761AF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No Phot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8"/>
          <p:cNvSpPr/>
          <p:nvPr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6" name="Freeform 19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TextBox 5"/>
          <p:cNvSpPr txBox="1"/>
          <p:nvPr/>
        </p:nvSpPr>
        <p:spPr bwMode="gray">
          <a:xfrm>
            <a:off x="357188" y="4740275"/>
            <a:ext cx="30099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Futura Bk" pitchFamily="34" charset="0"/>
              </a:rPr>
              <a:t>©2010 Hewlett-Packard Development Company, L.P.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Futura Bk" pitchFamily="34" charset="0"/>
              </a:rPr>
              <a:t>The information contained herein is subject to change without notice</a:t>
            </a:r>
          </a:p>
        </p:txBody>
      </p:sp>
      <p:pic>
        <p:nvPicPr>
          <p:cNvPr id="9" name="Picture 14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2" descr="Purple-Shards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6188" y="1728788"/>
            <a:ext cx="1947862" cy="406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5" descr="Purple-Shards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300" y="-161925"/>
            <a:ext cx="1295400" cy="270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 bwMode="black">
          <a:xfrm>
            <a:off x="328716" y="412890"/>
            <a:ext cx="5057324" cy="114888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4000"/>
              </a:lnSpc>
              <a:defRPr sz="2800" i="1" strike="noStrike" cap="all" baseline="0">
                <a:solidFill>
                  <a:srgbClr val="65CFE9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14664" y="1550182"/>
            <a:ext cx="4859864" cy="4135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1600" i="1" kern="1200" dirty="0" smtClean="0">
                <a:solidFill>
                  <a:srgbClr val="65CFE9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57089" y="3858421"/>
            <a:ext cx="4426784" cy="7017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400">
                <a:solidFill>
                  <a:schemeClr val="bg1"/>
                </a:solidFill>
                <a:latin typeface="Futura Bk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0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7863840" cy="3321893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Date Placeholder 9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1B05C-3969-438C-B448-29C292F75912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7996E2-6855-446C-A2F5-50759EA958D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0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" name="Picture 11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460090"/>
            <a:ext cx="7863840" cy="3155344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18E09-3C5A-4679-959F-F9E184FC8F0A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8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3C087D-FC78-4FA4-ACA5-5DB043463D57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1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2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C8296-BF86-4A19-B9F2-C91992629A8C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94C224-D52A-4635-99D1-B8B9C1936C88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" name="Picture 10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5D802A-926A-407D-9EE0-6C44EB73D8E9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63CCB-BB2F-4F8B-91DB-BC0A31E6558B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5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8" name="Picture 16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itle 8"/>
          <p:cNvSpPr>
            <a:spLocks noGrp="1"/>
          </p:cNvSpPr>
          <p:nvPr>
            <p:ph type="title"/>
          </p:nvPr>
        </p:nvSpPr>
        <p:spPr>
          <a:xfrm>
            <a:off x="371856" y="1142620"/>
            <a:ext cx="2792349" cy="3442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66933" y="1544904"/>
            <a:ext cx="2805320" cy="30099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Tx/>
              <a:buFont typeface="Futura Bk" pitchFamily="34" charset="0"/>
              <a:buNone/>
              <a:defRPr sz="1800">
                <a:solidFill>
                  <a:schemeClr val="bg1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378283" y="1136905"/>
            <a:ext cx="2686050" cy="344233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none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374136" y="1543050"/>
            <a:ext cx="520598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Futura Bk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4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8001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1028700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Date Placeholder 1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82150-F6DB-4383-BD0D-A7F16C9A6823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10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1F85FF-3BF3-45D9-A45E-D418AAF6473B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+ Gradient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4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" name="Picture 16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1476" y="1140552"/>
            <a:ext cx="2705099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190876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6013451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71476" y="1533329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/>
          </p:nvPr>
        </p:nvSpPr>
        <p:spPr>
          <a:xfrm>
            <a:off x="31908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21"/>
          </p:nvPr>
        </p:nvSpPr>
        <p:spPr>
          <a:xfrm>
            <a:off x="60102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Date Placeholder 11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6194E-7810-49D3-8D93-70555EAB50A4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7EDB4F-09D0-4415-8BA4-446D01106BCF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Footer Placeholder 13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4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5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7863840" cy="3740073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D8F9D5-A9C7-47FC-A676-D4B522379716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14AAC-125A-4854-A905-1CD042030E5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, Subtitle and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3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" name="Picture 17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78638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9317D4-4E91-48F3-B60F-824EED79C078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BC008-3056-4B50-BCB3-93BA4243E640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16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Subtitle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9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5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AF8D9-16A3-43F6-AE5B-0E05AC4B8D76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C7AE58-38F7-4FF3-9947-73B07D2E1268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Only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" name="Picture 13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B22B58-8AF3-47F1-881B-B46357E1D15D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362236-4F07-426E-B899-8BFB220A4051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6" descr="iStock_000011962205Smal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95813" y="0"/>
            <a:ext cx="4548187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 6"/>
          <p:cNvSpPr/>
          <p:nvPr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Freeform 9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13" descr="hp-logo-reversed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Purple-Shards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86188" y="1728788"/>
            <a:ext cx="1947862" cy="406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5" descr="Purple-Shards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300" y="-161925"/>
            <a:ext cx="1295400" cy="270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9"/>
          <p:cNvSpPr>
            <a:spLocks noGrp="1"/>
          </p:cNvSpPr>
          <p:nvPr>
            <p:ph type="title"/>
          </p:nvPr>
        </p:nvSpPr>
        <p:spPr bwMode="black">
          <a:xfrm>
            <a:off x="340302" y="369308"/>
            <a:ext cx="6548178" cy="1150734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buNone/>
              <a:defRPr lang="en-US" sz="2800" b="0" i="1" kern="1200" cap="all" baseline="0" dirty="0">
                <a:solidFill>
                  <a:srgbClr val="65CFE9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0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5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1293541"/>
            <a:ext cx="7863840" cy="3375277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E3CBF6-EB8D-43D9-A42A-BB9D67463158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09C02-C545-48C7-B5D7-6745E6BD8CC8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3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" name="Picture 17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583473"/>
            <a:ext cx="7863840" cy="303196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6BED5-5688-4F47-9699-BD917E8C8E9B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9A23B-75DE-408E-A714-4FA7E96614EF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16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9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" name="Picture 13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1172268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9015E0-3EE2-41AB-BF49-C80CD48FBCA2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0DD9E2-A8DE-4A1D-9CDF-9464DB8478B0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" name="Picture 13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B34019-CA1F-4727-8209-9CD46E331F1D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16DF14-332B-419F-BF9C-7C7C6F4BD55E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3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8" name="Picture 18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itle 8"/>
          <p:cNvSpPr>
            <a:spLocks noGrp="1"/>
          </p:cNvSpPr>
          <p:nvPr>
            <p:ph type="title"/>
          </p:nvPr>
        </p:nvSpPr>
        <p:spPr>
          <a:xfrm>
            <a:off x="371856" y="1142620"/>
            <a:ext cx="2792349" cy="34423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66933" y="1544904"/>
            <a:ext cx="2805320" cy="30099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spcBef>
                <a:spcPts val="1000"/>
              </a:spcBef>
              <a:buClrTx/>
              <a:buFont typeface="Futura Bk" pitchFamily="34" charset="0"/>
              <a:buNone/>
              <a:defRPr sz="1800">
                <a:solidFill>
                  <a:schemeClr val="bg1"/>
                </a:solidFill>
                <a:latin typeface="Futura Bk" pitchFamily="34" charset="0"/>
              </a:defRPr>
            </a:lvl1pPr>
            <a:lvl2pPr marL="227013" indent="1588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  <a:latin typeface="Futura Bk" pitchFamily="34" charset="0"/>
              </a:defRPr>
            </a:lvl2pPr>
            <a:lvl3pPr marL="284163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3pPr>
            <a:lvl4pPr marL="396875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Futura Bk" pitchFamily="34" charset="0"/>
              </a:defRPr>
            </a:lvl4pPr>
            <a:lvl5pPr marL="517525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  <a:latin typeface="Futura B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378283" y="1136905"/>
            <a:ext cx="2686050" cy="344233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kern="1200" cap="none" baseline="0" dirty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2pPr>
            <a:lvl3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3pPr>
            <a:lvl4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4pPr>
            <a:lvl5pPr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5A6FF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374136" y="1543050"/>
            <a:ext cx="520598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5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4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8001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1028700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Date Placeholder 10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500441-9EC5-4B6B-913C-D7FCE3934054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5A8991-FA74-4347-8D4C-B4D2923A6F58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6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+ Black 13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4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" name="Picture 22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1476" y="1140552"/>
            <a:ext cx="2705099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3190876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6013451" y="1140552"/>
            <a:ext cx="2705100" cy="3437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lang="en-US" sz="2000" kern="1200" cap="none" baseline="0" dirty="0" smtClean="0">
                <a:solidFill>
                  <a:srgbClr val="0098F6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71476" y="1533329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/>
          </p:nvPr>
        </p:nvSpPr>
        <p:spPr>
          <a:xfrm>
            <a:off x="31908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21"/>
          </p:nvPr>
        </p:nvSpPr>
        <p:spPr>
          <a:xfrm>
            <a:off x="6010276" y="1543050"/>
            <a:ext cx="2707004" cy="301180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0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200"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3pPr>
            <a:lvl4pPr marL="746125" indent="-114300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Futura Bk" pitchFamily="34" charset="0"/>
              <a:buChar char="–"/>
              <a:defRPr sz="1000">
                <a:solidFill>
                  <a:schemeClr val="bg1"/>
                </a:solidFill>
              </a:defRPr>
            </a:lvl4pPr>
            <a:lvl5pPr marL="974725" indent="-174625">
              <a:lnSpc>
                <a:spcPct val="110000"/>
              </a:lnSpc>
              <a:spcBef>
                <a:spcPts val="400"/>
              </a:spcBef>
              <a:buClr>
                <a:schemeClr val="tx2"/>
              </a:buClr>
              <a:buSzPct val="80000"/>
              <a:buFont typeface="Arial" pitchFamily="34" charset="0"/>
              <a:buChar char="•"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38328" y="315467"/>
            <a:ext cx="8242300" cy="8777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300"/>
              </a:lnSpc>
              <a:buClrTx/>
              <a:buFontTx/>
              <a:buNone/>
              <a:defRPr sz="2800" cap="none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Date Placeholder 12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0A9F5C-5831-43B0-BF1C-4495ED51B8DB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12" name="Slide Number Placeholder 1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671ED2-AB34-4B15-9E2C-D924651B1293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Footer Placeholder 2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bg>
      <p:bgPr>
        <a:gradFill>
          <a:gsLst>
            <a:gs pos="85000">
              <a:srgbClr val="00104D"/>
            </a:gs>
            <a:gs pos="15000">
              <a:srgbClr val="1E89C5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" name="Picture 6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0"/>
          <p:cNvSpPr>
            <a:spLocks noGrp="1"/>
          </p:cNvSpPr>
          <p:nvPr>
            <p:ph type="title"/>
          </p:nvPr>
        </p:nvSpPr>
        <p:spPr bwMode="black">
          <a:xfrm>
            <a:off x="1009650" y="2058591"/>
            <a:ext cx="7124700" cy="10263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ts val="5000"/>
              </a:lnSpc>
              <a:defRPr sz="2600" b="0" i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Line, Subtitle and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HP_InstantOn_0201b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" descr="hp-logo-reversed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82013" y="4679950"/>
            <a:ext cx="417512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 bwMode="gray">
          <a:xfrm>
            <a:off x="363538" y="4849813"/>
            <a:ext cx="384175" cy="200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>
              <a:defRPr/>
            </a:pPr>
            <a:fld id="{DCBF99BC-D38A-4ED5-B3EF-D9D4278B4497}" type="slidenum">
              <a:rPr lang="en-US" sz="70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pPr algn="l">
                <a:defRPr/>
              </a:pPr>
              <a:t>‹#›</a:t>
            </a:fld>
            <a:endParaRPr lang="en-US" sz="700" dirty="0">
              <a:solidFill>
                <a:srgbClr val="000000">
                  <a:lumMod val="50000"/>
                  <a:lumOff val="50000"/>
                </a:srgbClr>
              </a:solidFill>
              <a:latin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659608"/>
            <a:ext cx="8370380" cy="2949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chemeClr val="tx2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339725" y="315470"/>
            <a:ext cx="8375650" cy="32980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65760" y="1147572"/>
            <a:ext cx="8348472" cy="344957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342900" indent="-114300">
              <a:lnSpc>
                <a:spcPct val="110000"/>
              </a:lnSpc>
              <a:spcBef>
                <a:spcPts val="500"/>
              </a:spcBef>
              <a:buClr>
                <a:schemeClr val="bg1"/>
              </a:buClr>
              <a:buSzPct val="80000"/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71500" indent="-168275">
              <a:lnSpc>
                <a:spcPct val="110000"/>
              </a:lnSpc>
              <a:spcBef>
                <a:spcPts val="400"/>
              </a:spcBef>
              <a:buClr>
                <a:schemeClr val="bg1"/>
              </a:buClr>
              <a:buFont typeface="Futura Bk" pitchFamily="34" charset="0"/>
              <a:buChar char="−"/>
              <a:defRPr sz="1800">
                <a:solidFill>
                  <a:schemeClr val="bg1"/>
                </a:solidFill>
              </a:defRPr>
            </a:lvl3pPr>
            <a:lvl4pPr marL="800100" indent="-114300">
              <a:lnSpc>
                <a:spcPct val="110000"/>
              </a:lnSpc>
              <a:spcBef>
                <a:spcPts val="400"/>
              </a:spcBef>
              <a:buClr>
                <a:schemeClr val="bg1"/>
              </a:buClr>
              <a:buSzPct val="80000"/>
              <a:buFont typeface="Arial" pitchFamily="34" charset="0"/>
              <a:buChar char="•"/>
              <a:defRPr sz="1800">
                <a:solidFill>
                  <a:schemeClr val="bg1"/>
                </a:solidFill>
              </a:defRPr>
            </a:lvl4pPr>
            <a:lvl5pPr marL="1028700" indent="-174625">
              <a:lnSpc>
                <a:spcPct val="110000"/>
              </a:lnSpc>
              <a:spcBef>
                <a:spcPts val="400"/>
              </a:spcBef>
              <a:buClr>
                <a:schemeClr val="bg1"/>
              </a:buClr>
              <a:buFont typeface="Futura Bk" pitchFamily="34" charset="0"/>
              <a:buChar char="−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/>
          <p:nvPr/>
        </p:nvSpPr>
        <p:spPr bwMode="auto">
          <a:xfrm>
            <a:off x="0" y="0"/>
            <a:ext cx="184150" cy="338138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>
            <a:spAutoFit/>
          </a:bodyPr>
          <a:lstStyle/>
          <a:p>
            <a:pPr algn="l">
              <a:spcBef>
                <a:spcPct val="50000"/>
              </a:spcBef>
              <a:defRPr/>
            </a:pPr>
            <a:endParaRPr lang="en-US" sz="160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" name="Picture 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407400" y="4627563"/>
            <a:ext cx="338138" cy="34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659608"/>
            <a:ext cx="8370380" cy="294965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kern="1200" dirty="0" smtClean="0">
                <a:solidFill>
                  <a:schemeClr val="bg1">
                    <a:lumMod val="75000"/>
                  </a:schemeClr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339725" y="315470"/>
            <a:ext cx="8375650" cy="32980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+ Gradien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 descr="iStock_000011962205Small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95813" y="0"/>
            <a:ext cx="4548187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 8"/>
          <p:cNvSpPr/>
          <p:nvPr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Freeform 10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13" descr="hp-logo-reversed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Purple-Shards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86188" y="1728788"/>
            <a:ext cx="1947862" cy="406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5" descr="Purple-Shards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300" y="-161925"/>
            <a:ext cx="1295400" cy="270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9"/>
          <p:cNvSpPr>
            <a:spLocks noGrp="1"/>
          </p:cNvSpPr>
          <p:nvPr>
            <p:ph type="title"/>
          </p:nvPr>
        </p:nvSpPr>
        <p:spPr bwMode="black">
          <a:xfrm>
            <a:off x="340302" y="369308"/>
            <a:ext cx="6548178" cy="1150734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buNone/>
              <a:defRPr lang="en-US" sz="2800" b="0" i="1" kern="1200" cap="all" baseline="0" dirty="0">
                <a:solidFill>
                  <a:srgbClr val="65CFE9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138" y="315913"/>
            <a:ext cx="8375650" cy="857250"/>
          </a:xfrm>
        </p:spPr>
        <p:txBody>
          <a:bodyPr/>
          <a:lstStyle>
            <a:lvl1pPr>
              <a:lnSpc>
                <a:spcPts val="3300"/>
              </a:lnSpc>
              <a:defRPr kumimoji="0" lang="en-US" sz="3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Bk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ransition Slide - Gradient">
    <p:bg>
      <p:bgPr>
        <a:gradFill>
          <a:gsLst>
            <a:gs pos="15000">
              <a:srgbClr val="5F6062"/>
            </a:gs>
            <a:gs pos="85000">
              <a:srgbClr val="000000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8"/>
          <p:cNvSpPr/>
          <p:nvPr/>
        </p:nvSpPr>
        <p:spPr>
          <a:xfrm>
            <a:off x="3787775" y="4781550"/>
            <a:ext cx="1568450" cy="200025"/>
          </a:xfrm>
          <a:prstGeom prst="rect">
            <a:avLst/>
          </a:prstGeom>
        </p:spPr>
        <p:txBody>
          <a:bodyPr l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HP Confidential – Internal Use Only</a:t>
            </a:r>
          </a:p>
        </p:txBody>
      </p:sp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142875" y="4772025"/>
            <a:ext cx="319088" cy="201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A78B080-6556-433A-BA33-4887D5206575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471488" y="4772025"/>
            <a:ext cx="3292475" cy="201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 Title/N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D_RGB_M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48675" y="4649788"/>
            <a:ext cx="51435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9" descr="Purple-Shards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01000" y="-514350"/>
            <a:ext cx="1295400" cy="202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7360" y="315468"/>
            <a:ext cx="8375650" cy="5039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365760" y="1152144"/>
            <a:ext cx="8348472" cy="3463290"/>
          </a:xfrm>
        </p:spPr>
        <p:txBody>
          <a:bodyPr/>
          <a:lstStyle>
            <a:lvl1pPr>
              <a:defRPr>
                <a:latin typeface="Futura Bk" pitchFamily="34" charset="0"/>
              </a:defRPr>
            </a:lvl1pPr>
            <a:lvl2pPr>
              <a:defRPr>
                <a:latin typeface="Futura Bk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/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3"/>
          <p:cNvCxnSpPr>
            <a:cxnSpLocks noChangeShapeType="1"/>
          </p:cNvCxnSpPr>
          <p:nvPr/>
        </p:nvCxnSpPr>
        <p:spPr bwMode="auto">
          <a:xfrm>
            <a:off x="268688" y="760594"/>
            <a:ext cx="8202306" cy="1"/>
          </a:xfrm>
          <a:prstGeom prst="straightConnector1">
            <a:avLst/>
          </a:prstGeom>
          <a:noFill/>
          <a:ln w="28575" cap="flat" cmpd="sng" algn="ctr">
            <a:gradFill flip="none" rotWithShape="1">
              <a:gsLst>
                <a:gs pos="0">
                  <a:schemeClr val="accent1">
                    <a:lumMod val="60000"/>
                    <a:lumOff val="40000"/>
                    <a:alpha val="0"/>
                  </a:schemeClr>
                </a:gs>
                <a:gs pos="60000">
                  <a:schemeClr val="accent1">
                    <a:lumMod val="60000"/>
                    <a:lumOff val="40000"/>
                    <a:alpha val="60000"/>
                  </a:schemeClr>
                </a:gs>
                <a:gs pos="40000">
                  <a:schemeClr val="accent1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lumMod val="60000"/>
                    <a:lumOff val="40000"/>
                    <a:alpha val="0"/>
                  </a:schemeClr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lg" len="lg"/>
          </a:ln>
        </p:spPr>
      </p:cxnSp>
      <p:cxnSp>
        <p:nvCxnSpPr>
          <p:cNvPr id="5" name="Straight Arrow Connector 4"/>
          <p:cNvCxnSpPr>
            <a:cxnSpLocks noChangeShapeType="1"/>
          </p:cNvCxnSpPr>
          <p:nvPr/>
        </p:nvCxnSpPr>
        <p:spPr bwMode="auto">
          <a:xfrm>
            <a:off x="268688" y="4540083"/>
            <a:ext cx="8202306" cy="1"/>
          </a:xfrm>
          <a:prstGeom prst="straightConnector1">
            <a:avLst/>
          </a:prstGeom>
          <a:noFill/>
          <a:ln w="28575" cap="flat" cmpd="sng" algn="ctr">
            <a:gradFill flip="none" rotWithShape="1">
              <a:gsLst>
                <a:gs pos="0">
                  <a:schemeClr val="accent1">
                    <a:lumMod val="60000"/>
                    <a:lumOff val="40000"/>
                    <a:alpha val="0"/>
                  </a:schemeClr>
                </a:gs>
                <a:gs pos="60000">
                  <a:schemeClr val="accent1">
                    <a:lumMod val="60000"/>
                    <a:lumOff val="40000"/>
                    <a:alpha val="60000"/>
                  </a:schemeClr>
                </a:gs>
                <a:gs pos="40000">
                  <a:schemeClr val="accent1">
                    <a:lumMod val="60000"/>
                    <a:lumOff val="40000"/>
                    <a:alpha val="60000"/>
                  </a:schemeClr>
                </a:gs>
                <a:gs pos="100000">
                  <a:schemeClr val="accent1">
                    <a:lumMod val="60000"/>
                    <a:lumOff val="40000"/>
                    <a:alpha val="0"/>
                  </a:schemeClr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lg" len="lg"/>
          </a:ln>
        </p:spPr>
      </p:cxnSp>
      <p:pic>
        <p:nvPicPr>
          <p:cNvPr id="7" name="Picture 8" descr="HP_D_RGB_M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48675" y="4649788"/>
            <a:ext cx="51435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Purple-Shards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01000" y="-514350"/>
            <a:ext cx="1295400" cy="202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338328" y="315468"/>
            <a:ext cx="8299450" cy="441722"/>
          </a:xfrm>
        </p:spPr>
        <p:txBody>
          <a:bodyPr anchor="t"/>
          <a:lstStyle>
            <a:lvl1pPr>
              <a:defRPr sz="3100"/>
            </a:lvl1pPr>
          </a:lstStyle>
          <a:p>
            <a:r>
              <a:rPr lang="en-US" dirty="0" smtClean="0"/>
              <a:t>Click to edit Master title style</a:t>
            </a:r>
            <a:endParaRPr dirty="0" smtClean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3"/>
          </p:nvPr>
        </p:nvSpPr>
        <p:spPr>
          <a:xfrm>
            <a:off x="438150" y="885825"/>
            <a:ext cx="8134350" cy="34004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 thruBlk="1"/>
  </p:transition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3" name="Rectangle 2"/>
          <p:cNvSpPr>
            <a:spLocks/>
          </p:cNvSpPr>
          <p:nvPr/>
        </p:nvSpPr>
        <p:spPr bwMode="auto">
          <a:xfrm>
            <a:off x="0" y="0"/>
            <a:ext cx="9144000" cy="5191125"/>
          </a:xfrm>
          <a:prstGeom prst="rect">
            <a:avLst/>
          </a:prstGeom>
          <a:gradFill rotWithShape="0">
            <a:gsLst>
              <a:gs pos="0">
                <a:srgbClr val="000000">
                  <a:alpha val="68999"/>
                </a:srgbClr>
              </a:gs>
              <a:gs pos="100000">
                <a:srgbClr val="000000">
                  <a:alpha val="0"/>
                </a:srgbClr>
              </a:gs>
            </a:gsLst>
            <a:lin ang="300000" scaled="1"/>
          </a:gradFill>
          <a:ln w="254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91538" y="4691063"/>
            <a:ext cx="390525" cy="29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ing Slide Purple">
    <p:bg>
      <p:bgPr>
        <a:gradFill flip="none" rotWithShape="1">
          <a:gsLst>
            <a:gs pos="15000">
              <a:srgbClr val="1E89C5"/>
            </a:gs>
            <a:gs pos="85000">
              <a:srgbClr val="00104D"/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94650" y="1454150"/>
            <a:ext cx="1149350" cy="3689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0"/>
          <p:cNvSpPr>
            <a:spLocks noGrp="1"/>
          </p:cNvSpPr>
          <p:nvPr>
            <p:ph type="title"/>
          </p:nvPr>
        </p:nvSpPr>
        <p:spPr bwMode="black">
          <a:xfrm>
            <a:off x="1009650" y="1847247"/>
            <a:ext cx="7124700" cy="10263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lnSpc>
                <a:spcPts val="5000"/>
              </a:lnSpc>
              <a:defRPr sz="26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Line Only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15468"/>
            <a:ext cx="8375650" cy="32980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 bwMode="gray">
          <a:xfrm>
            <a:off x="363186" y="4849432"/>
            <a:ext cx="3840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rPr>
              <a:pPr marL="0" algn="l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kern="1200" dirty="0" smtClean="0">
              <a:solidFill>
                <a:schemeClr val="tx1">
                  <a:lumMod val="50000"/>
                  <a:lumOff val="50000"/>
                </a:schemeClr>
              </a:solidFill>
              <a:latin typeface="Futura Bk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Line with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HP_InstantOn_0301b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3"/>
            <a:ext cx="9144000" cy="514350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39725" y="315483"/>
            <a:ext cx="8375650" cy="32980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marR="0" indent="0" algn="l" defTabSz="913715" rtl="0" eaLnBrk="1" fontAlgn="auto" latinLnBrk="0" hangingPunct="1">
              <a:lnSpc>
                <a:spcPts val="3297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365760" y="857269"/>
            <a:ext cx="8348472" cy="37552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10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marL="342642" indent="-114215">
              <a:lnSpc>
                <a:spcPct val="110000"/>
              </a:lnSpc>
              <a:spcBef>
                <a:spcPts val="500"/>
              </a:spcBef>
              <a:buClr>
                <a:schemeClr val="bg1"/>
              </a:buClr>
              <a:buSzPct val="80000"/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71071" indent="-168149">
              <a:lnSpc>
                <a:spcPct val="110000"/>
              </a:lnSpc>
              <a:spcBef>
                <a:spcPts val="400"/>
              </a:spcBef>
              <a:buClr>
                <a:schemeClr val="bg1"/>
              </a:buClr>
              <a:buFont typeface="Futura Bk" pitchFamily="34" charset="0"/>
              <a:buChar char="−"/>
              <a:defRPr sz="1800">
                <a:solidFill>
                  <a:schemeClr val="bg1"/>
                </a:solidFill>
              </a:defRPr>
            </a:lvl3pPr>
            <a:lvl4pPr marL="799500" indent="-114215">
              <a:lnSpc>
                <a:spcPct val="110000"/>
              </a:lnSpc>
              <a:spcBef>
                <a:spcPts val="400"/>
              </a:spcBef>
              <a:buClr>
                <a:schemeClr val="bg1"/>
              </a:buClr>
              <a:buSzPct val="80000"/>
              <a:buFont typeface="Arial" pitchFamily="34" charset="0"/>
              <a:buChar char="•"/>
              <a:defRPr sz="1800">
                <a:solidFill>
                  <a:schemeClr val="bg1"/>
                </a:solidFill>
              </a:defRPr>
            </a:lvl4pPr>
            <a:lvl5pPr marL="1027929" indent="-174494">
              <a:lnSpc>
                <a:spcPct val="110000"/>
              </a:lnSpc>
              <a:spcBef>
                <a:spcPts val="400"/>
              </a:spcBef>
              <a:buClr>
                <a:schemeClr val="bg1"/>
              </a:buClr>
              <a:buFont typeface="Futura Bk" pitchFamily="34" charset="0"/>
              <a:buChar char="−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5" descr="hp-logo-reversed.png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8481987" y="4679920"/>
            <a:ext cx="417738" cy="313304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 bwMode="gray">
          <a:xfrm>
            <a:off x="363186" y="4849465"/>
            <a:ext cx="384048" cy="201956"/>
          </a:xfrm>
          <a:prstGeom prst="rect">
            <a:avLst/>
          </a:prstGeom>
          <a:noFill/>
        </p:spPr>
        <p:txBody>
          <a:bodyPr wrap="square" lIns="91371" tIns="45687" rIns="91371" bIns="45687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445441D-5648-4C4E-924F-9D5109CAF161}" type="slidenum">
              <a:rPr lang="en-US" sz="7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00" dirty="0" smtClean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>
            <a:off x="0" y="1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950" y="292608"/>
            <a:ext cx="8375650" cy="503992"/>
          </a:xfrm>
        </p:spPr>
        <p:txBody>
          <a:bodyPr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SINGLE LINE TITLE</a:t>
            </a:r>
            <a:endParaRPr lang="en-US" dirty="0"/>
          </a:p>
        </p:txBody>
      </p:sp>
      <p:pic>
        <p:nvPicPr>
          <p:cNvPr id="15" name="Picture 1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407075" y="4575409"/>
            <a:ext cx="3905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No Phot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/>
          <p:nvPr/>
        </p:nvSpPr>
        <p:spPr>
          <a:xfrm>
            <a:off x="0" y="0"/>
            <a:ext cx="5854700" cy="5143500"/>
          </a:xfrm>
          <a:custGeom>
            <a:avLst/>
            <a:gdLst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56831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6688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70294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570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3095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093316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100651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  <a:gd name="connsiteX0" fmla="*/ 0 w 5683170"/>
              <a:gd name="connsiteY0" fmla="*/ 0 h 6858000"/>
              <a:gd name="connsiteX1" fmla="*/ 5683170 w 5683170"/>
              <a:gd name="connsiteY1" fmla="*/ 0 h 6858000"/>
              <a:gd name="connsiteX2" fmla="*/ 4490723 w 5683170"/>
              <a:gd name="connsiteY2" fmla="*/ 6858000 h 6858000"/>
              <a:gd name="connsiteX3" fmla="*/ 0 w 5683170"/>
              <a:gd name="connsiteY3" fmla="*/ 6858000 h 6858000"/>
              <a:gd name="connsiteX4" fmla="*/ 0 w 568317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83170" h="6858000">
                <a:moveTo>
                  <a:pt x="0" y="0"/>
                </a:moveTo>
                <a:lnTo>
                  <a:pt x="5683170" y="0"/>
                </a:lnTo>
                <a:lnTo>
                  <a:pt x="449072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4" name="Freeform 8"/>
          <p:cNvSpPr/>
          <p:nvPr/>
        </p:nvSpPr>
        <p:spPr>
          <a:xfrm>
            <a:off x="7917542" y="0"/>
            <a:ext cx="122645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gradFill flip="none" rotWithShape="1">
            <a:gsLst>
              <a:gs pos="85000">
                <a:srgbClr val="00104D"/>
              </a:gs>
              <a:gs pos="15000">
                <a:srgbClr val="1E89C5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13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4" descr="Purple-Shards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86188" y="1728788"/>
            <a:ext cx="1947862" cy="406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5" descr="Purple-Shards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15300" y="-161925"/>
            <a:ext cx="1295400" cy="270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9"/>
          <p:cNvSpPr>
            <a:spLocks noGrp="1"/>
          </p:cNvSpPr>
          <p:nvPr>
            <p:ph type="title"/>
          </p:nvPr>
        </p:nvSpPr>
        <p:spPr bwMode="black">
          <a:xfrm>
            <a:off x="340302" y="369308"/>
            <a:ext cx="6548178" cy="1150734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algn="l" defTabSz="914400" rtl="0" eaLnBrk="1" latinLnBrk="0" hangingPunct="1">
              <a:lnSpc>
                <a:spcPts val="3300"/>
              </a:lnSpc>
              <a:spcBef>
                <a:spcPct val="0"/>
              </a:spcBef>
              <a:buNone/>
              <a:defRPr lang="en-US" sz="2800" b="0" i="1" kern="1200" cap="all" baseline="0" dirty="0">
                <a:solidFill>
                  <a:srgbClr val="65CFE9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125" y="1152525"/>
            <a:ext cx="4097338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152525"/>
            <a:ext cx="4098925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315913"/>
            <a:ext cx="2093913" cy="429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315913"/>
            <a:ext cx="6129337" cy="429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gradFill flip="none" rotWithShape="1">
          <a:gsLst>
            <a:gs pos="85000">
              <a:srgbClr val="00104D"/>
            </a:gs>
            <a:gs pos="15000">
              <a:srgbClr val="1E89C5"/>
            </a:gs>
          </a:gsLst>
          <a:path path="circle">
            <a:fillToRect l="100000" b="100000"/>
          </a:path>
          <a:tileRect t="-100000" r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8"/>
          <p:cNvSpPr/>
          <p:nvPr/>
        </p:nvSpPr>
        <p:spPr>
          <a:xfrm>
            <a:off x="7916863" y="0"/>
            <a:ext cx="1227137" cy="5143500"/>
          </a:xfrm>
          <a:custGeom>
            <a:avLst/>
            <a:gdLst>
              <a:gd name="connsiteX0" fmla="*/ 1241503 w 1241503"/>
              <a:gd name="connsiteY0" fmla="*/ 0 h 6846849"/>
              <a:gd name="connsiteX1" fmla="*/ 0 w 1241503"/>
              <a:gd name="connsiteY1" fmla="*/ 6846849 h 6846849"/>
              <a:gd name="connsiteX2" fmla="*/ 1241503 w 1241503"/>
              <a:gd name="connsiteY2" fmla="*/ 6846849 h 6846849"/>
              <a:gd name="connsiteX3" fmla="*/ 1241503 w 1241503"/>
              <a:gd name="connsiteY3" fmla="*/ 0 h 6846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1503" h="6846849">
                <a:moveTo>
                  <a:pt x="1241503" y="0"/>
                </a:moveTo>
                <a:lnTo>
                  <a:pt x="0" y="6846849"/>
                </a:lnTo>
                <a:lnTo>
                  <a:pt x="1241503" y="6846849"/>
                </a:lnTo>
                <a:lnTo>
                  <a:pt x="124150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" name="Picture 10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0"/>
          <p:cNvSpPr>
            <a:spLocks noGrp="1"/>
          </p:cNvSpPr>
          <p:nvPr>
            <p:ph type="title"/>
          </p:nvPr>
        </p:nvSpPr>
        <p:spPr bwMode="black">
          <a:xfrm>
            <a:off x="474562" y="529542"/>
            <a:ext cx="8090704" cy="3125165"/>
          </a:xfrm>
          <a:prstGeom prst="rect">
            <a:avLst/>
          </a:prstGeom>
        </p:spPr>
        <p:txBody>
          <a:bodyPr anchor="t"/>
          <a:lstStyle>
            <a:lvl1pPr marL="177800" indent="-177800" algn="l">
              <a:lnSpc>
                <a:spcPct val="100000"/>
              </a:lnSpc>
              <a:defRPr sz="2800" strike="noStrike" cap="none" baseline="0">
                <a:solidFill>
                  <a:srgbClr val="65CFE9"/>
                </a:solidFill>
                <a:latin typeface="Futura L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597854" y="3950221"/>
            <a:ext cx="7018845" cy="576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8138" y="1150938"/>
            <a:ext cx="4097337" cy="3478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7875" y="1150938"/>
            <a:ext cx="4098925" cy="3478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36F097-04CF-4B78-9DCD-18969110FFBC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6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84365A-71E1-4D79-B588-1F10C69E91A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136525"/>
            <a:ext cx="2093913" cy="44926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136525"/>
            <a:ext cx="6129337" cy="44926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125" y="1152525"/>
            <a:ext cx="4097338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4863" y="1152525"/>
            <a:ext cx="4098925" cy="3462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Lin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hp-logo-reversed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black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759965"/>
            <a:ext cx="8370380" cy="2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12"/>
          <p:cNvSpPr>
            <a:spLocks noGrp="1"/>
          </p:cNvSpPr>
          <p:nvPr>
            <p:ph sz="quarter" idx="18"/>
          </p:nvPr>
        </p:nvSpPr>
        <p:spPr>
          <a:xfrm>
            <a:off x="365760" y="1196817"/>
            <a:ext cx="8321040" cy="338328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itle 8"/>
          <p:cNvSpPr>
            <a:spLocks noGrp="1"/>
          </p:cNvSpPr>
          <p:nvPr>
            <p:ph type="title"/>
          </p:nvPr>
        </p:nvSpPr>
        <p:spPr>
          <a:xfrm>
            <a:off x="339725" y="304710"/>
            <a:ext cx="8375650" cy="46984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84972B-E4E9-4FBD-B039-92FD6F9FBC84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85AD01-7EBC-40D8-88E8-5245E775FF62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t>Footer goes here</a:t>
            </a:r>
          </a:p>
        </p:txBody>
      </p:sp>
    </p:spTree>
  </p:cSld>
  <p:clrMapOvr>
    <a:masterClrMapping/>
  </p:clrMapOvr>
  <p:transition>
    <p:fade thruBlk="1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9875" y="315913"/>
            <a:ext cx="2093913" cy="429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8138" y="315913"/>
            <a:ext cx="6129337" cy="429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8138" y="1150938"/>
            <a:ext cx="4097337" cy="3478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7875" y="1150938"/>
            <a:ext cx="4098925" cy="3478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image" Target="../media/image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image" Target="../media/image7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18.png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image" Target="../media/image17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85000">
              <a:schemeClr val="accent6"/>
            </a:gs>
            <a:gs pos="15000">
              <a:srgbClr val="393B3D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/>
          <p:cNvSpPr>
            <a:spLocks noGrp="1"/>
          </p:cNvSpPr>
          <p:nvPr>
            <p:ph type="dt" sz="half" idx="2"/>
          </p:nvPr>
        </p:nvSpPr>
        <p:spPr>
          <a:xfrm>
            <a:off x="4022725" y="4856163"/>
            <a:ext cx="1098550" cy="150812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lang="en-US"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5B13C307-0214-40D0-A0C3-E904530916A1}" type="datetime1">
              <a:rPr lang="en-US"/>
              <a:pPr>
                <a:defRPr/>
              </a:pPr>
              <a:t>4/21/2015</a:t>
            </a:fld>
            <a:endParaRPr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695325" y="4856163"/>
            <a:ext cx="3290888" cy="15081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lang="en-US"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HP Confidential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365125" y="4856163"/>
            <a:ext cx="320675" cy="1508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Futura Bk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783EB84-C60C-4AD4-AE6A-65C37A3F738D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3077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8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89" r:id="rId1"/>
    <p:sldLayoutId id="2147485790" r:id="rId2"/>
    <p:sldLayoutId id="2147485791" r:id="rId3"/>
    <p:sldLayoutId id="2147485792" r:id="rId4"/>
    <p:sldLayoutId id="2147485793" r:id="rId5"/>
    <p:sldLayoutId id="2147485794" r:id="rId6"/>
    <p:sldLayoutId id="2147485795" r:id="rId7"/>
    <p:sldLayoutId id="2147485796" r:id="rId8"/>
    <p:sldLayoutId id="2147485797" r:id="rId9"/>
    <p:sldLayoutId id="2147485798" r:id="rId10"/>
    <p:sldLayoutId id="2147485799" r:id="rId11"/>
    <p:sldLayoutId id="2147485800" r:id="rId12"/>
    <p:sldLayoutId id="2147485801" r:id="rId13"/>
    <p:sldLayoutId id="2147485802" r:id="rId14"/>
    <p:sldLayoutId id="2147485803" r:id="rId15"/>
    <p:sldLayoutId id="2147485804" r:id="rId16"/>
    <p:sldLayoutId id="2147485805" r:id="rId17"/>
    <p:sldLayoutId id="2147485806" r:id="rId18"/>
    <p:sldLayoutId id="2147485807" r:id="rId19"/>
    <p:sldLayoutId id="2147485808" r:id="rId20"/>
    <p:sldLayoutId id="2147485809" r:id="rId21"/>
    <p:sldLayoutId id="2147485689" r:id="rId22"/>
    <p:sldLayoutId id="2147485810" r:id="rId23"/>
    <p:sldLayoutId id="2147485811" r:id="rId24"/>
    <p:sldLayoutId id="2147485812" r:id="rId25"/>
    <p:sldLayoutId id="2147485813" r:id="rId26"/>
    <p:sldLayoutId id="2147485814" r:id="rId27"/>
    <p:sldLayoutId id="2147485815" r:id="rId28"/>
    <p:sldLayoutId id="2147485816" r:id="rId29"/>
    <p:sldLayoutId id="2147485817" r:id="rId30"/>
    <p:sldLayoutId id="2147485818" r:id="rId31"/>
    <p:sldLayoutId id="2147485819" r:id="rId32"/>
    <p:sldLayoutId id="2147485820" r:id="rId33"/>
    <p:sldLayoutId id="2147485821" r:id="rId34"/>
    <p:sldLayoutId id="2147485822" r:id="rId35"/>
    <p:sldLayoutId id="2147485823" r:id="rId36"/>
    <p:sldLayoutId id="2147485824" r:id="rId37"/>
    <p:sldLayoutId id="2147485825" r:id="rId38"/>
    <p:sldLayoutId id="2147485826" r:id="rId39"/>
    <p:sldLayoutId id="2147485827" r:id="rId40"/>
    <p:sldLayoutId id="2147485828" r:id="rId41"/>
    <p:sldLayoutId id="2147485829" r:id="rId42"/>
    <p:sldLayoutId id="2147485830" r:id="rId43"/>
    <p:sldLayoutId id="2147485831" r:id="rId44"/>
    <p:sldLayoutId id="2147485832" r:id="rId45"/>
    <p:sldLayoutId id="2147485833" r:id="rId46"/>
    <p:sldLayoutId id="2147485834" r:id="rId47"/>
    <p:sldLayoutId id="2147485835" r:id="rId48"/>
    <p:sldLayoutId id="2147485836" r:id="rId49"/>
    <p:sldLayoutId id="2147485838" r:id="rId50"/>
    <p:sldLayoutId id="2147485839" r:id="rId51"/>
    <p:sldLayoutId id="2147485840" r:id="rId52"/>
    <p:sldLayoutId id="2147485841" r:id="rId53"/>
    <p:sldLayoutId id="2147485842" r:id="rId54"/>
    <p:sldLayoutId id="2147485843" r:id="rId55"/>
    <p:sldLayoutId id="2147485846" r:id="rId56"/>
    <p:sldLayoutId id="2147485850" r:id="rId57"/>
    <p:sldLayoutId id="2147485857" r:id="rId58"/>
  </p:sldLayoutIdLst>
  <p:transition>
    <p:fade thruBlk="1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lang="en-US" sz="3100" kern="1200" dirty="0">
          <a:solidFill>
            <a:schemeClr val="bg1"/>
          </a:solidFill>
          <a:latin typeface="Futura Bk" pitchFamily="34" charset="0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1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12292" name="Picture 7" descr="hp-logo-reversed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6"/>
          <p:cNvSpPr>
            <a:spLocks noChangeArrowheads="1"/>
          </p:cNvSpPr>
          <p:nvPr/>
        </p:nvSpPr>
        <p:spPr bwMode="black">
          <a:xfrm>
            <a:off x="455613" y="4779963"/>
            <a:ext cx="530225" cy="198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l" eaLnBrk="0" fontAlgn="auto" hangingPunct="0">
              <a:spcAft>
                <a:spcPts val="0"/>
              </a:spcAft>
              <a:tabLst>
                <a:tab pos="461963" algn="l"/>
                <a:tab pos="4572000" algn="ctr"/>
                <a:tab pos="8461375" algn="r"/>
                <a:tab pos="8855075" algn="r"/>
              </a:tabLst>
              <a:defRPr/>
            </a:pPr>
            <a:fld id="{5A26CFC5-40FE-404D-AD5E-7456FE9F8990}" type="slidenum">
              <a:rPr lang="en-US" sz="700">
                <a:solidFill>
                  <a:srgbClr val="7F7F7F"/>
                </a:solidFill>
                <a:latin typeface="+mn-lt"/>
              </a:rPr>
              <a:pPr algn="l" eaLnBrk="0" fontAlgn="auto" hangingPunct="0">
                <a:spcAft>
                  <a:spcPts val="0"/>
                </a:spcAft>
                <a:tabLst>
                  <a:tab pos="461963" algn="l"/>
                  <a:tab pos="4572000" algn="ctr"/>
                  <a:tab pos="8461375" algn="r"/>
                  <a:tab pos="8855075" algn="r"/>
                </a:tabLst>
                <a:defRPr/>
              </a:pPr>
              <a:t>‹#›</a:t>
            </a:fld>
            <a:endParaRPr lang="en-US" sz="70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4838" y="4830763"/>
            <a:ext cx="793750" cy="200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HP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78" r:id="rId1"/>
    <p:sldLayoutId id="2147485779" r:id="rId2"/>
    <p:sldLayoutId id="2147485780" r:id="rId3"/>
    <p:sldLayoutId id="2147485781" r:id="rId4"/>
    <p:sldLayoutId id="2147485782" r:id="rId5"/>
    <p:sldLayoutId id="2147485783" r:id="rId6"/>
    <p:sldLayoutId id="2147485784" r:id="rId7"/>
    <p:sldLayoutId id="2147485785" r:id="rId8"/>
    <p:sldLayoutId id="2147485786" r:id="rId9"/>
    <p:sldLayoutId id="2147485787" r:id="rId10"/>
    <p:sldLayoutId id="2147485788" r:id="rId11"/>
  </p:sldLayoutIdLst>
  <p:transition>
    <p:fade thruBlk="1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600">
          <a:solidFill>
            <a:schemeClr val="bg1"/>
          </a:solidFill>
          <a:latin typeface="+mn-lt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200">
          <a:solidFill>
            <a:schemeClr val="bg1"/>
          </a:solidFill>
          <a:latin typeface="+mn-lt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494713" y="4691063"/>
            <a:ext cx="40163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6" descr="HP_D_RGB_M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448675" y="4651375"/>
            <a:ext cx="514350" cy="3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0" name="Picture 9" descr="Purple-Shards.png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1000" y="-514350"/>
            <a:ext cx="1295400" cy="202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1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2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90" r:id="rId1"/>
    <p:sldLayoutId id="2147485691" r:id="rId2"/>
    <p:sldLayoutId id="2147485692" r:id="rId3"/>
    <p:sldLayoutId id="2147485693" r:id="rId4"/>
    <p:sldLayoutId id="2147485694" r:id="rId5"/>
    <p:sldLayoutId id="2147485695" r:id="rId6"/>
    <p:sldLayoutId id="2147485696" r:id="rId7"/>
    <p:sldLayoutId id="2147485697" r:id="rId8"/>
    <p:sldLayoutId id="2147485698" r:id="rId9"/>
    <p:sldLayoutId id="2147485699" r:id="rId10"/>
    <p:sldLayoutId id="2147485700" r:id="rId11"/>
  </p:sldLayoutIdLst>
  <p:transition/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SzPct val="100000"/>
        <a:buFont typeface="Futura Bk" pitchFamily="34" charset="0"/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MS PGothic" pitchFamily="34" charset="-128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SzPct val="80000"/>
        <a:buFont typeface="Arial" pitchFamily="34" charset="0"/>
        <a:buChar char="•"/>
        <a:defRPr sz="1200">
          <a:solidFill>
            <a:schemeClr val="tx1"/>
          </a:solidFill>
          <a:latin typeface="+mn-lt"/>
          <a:ea typeface="MS PGothic" pitchFamily="34" charset="-128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MS PGothic" pitchFamily="34" charset="-128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393B3D"/>
            </a:gs>
            <a:gs pos="13000">
              <a:srgbClr val="393B3D"/>
            </a:gs>
            <a:gs pos="100000">
              <a:srgbClr val="1A1819"/>
            </a:gs>
          </a:gsLst>
          <a:lin ang="63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491538" y="4691063"/>
            <a:ext cx="390525" cy="29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 noGrp="1"/>
          </p:cNvSpPr>
          <p:nvPr userDrawn="1">
            <p:custDataLst>
              <p:tags r:id="rId13"/>
            </p:custDataLst>
          </p:nvPr>
        </p:nvSpPr>
        <p:spPr bwMode="auto">
          <a:xfrm>
            <a:off x="-46038" y="4913313"/>
            <a:ext cx="366713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 anchor="ctr"/>
          <a:lstStyle/>
          <a:p>
            <a:pPr defTabSz="912813" eaLnBrk="0" hangingPunct="0">
              <a:defRPr/>
            </a:pPr>
            <a:fld id="{5C13245A-CF9A-44CB-8F47-8F4562B55824}" type="slidenum">
              <a:rPr lang="en-US" sz="900">
                <a:solidFill>
                  <a:srgbClr val="FFFFFF"/>
                </a:solidFill>
                <a:latin typeface="Futura Bk"/>
                <a:cs typeface="Arial" pitchFamily="34" charset="0"/>
              </a:rPr>
              <a:pPr defTabSz="912813" eaLnBrk="0" hangingPunct="0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latin typeface="Futura Bk"/>
              <a:cs typeface="Arial" pitchFamily="34" charset="0"/>
            </a:endParaRPr>
          </a:p>
        </p:txBody>
      </p:sp>
      <p:sp>
        <p:nvSpPr>
          <p:cNvPr id="6" name="Text Box 16"/>
          <p:cNvSpPr txBox="1"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 rot="16200000">
            <a:off x="-307975" y="4360863"/>
            <a:ext cx="892175" cy="36512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900" dirty="0">
                <a:solidFill>
                  <a:srgbClr val="FFFFFF"/>
                </a:solidFill>
                <a:latin typeface="Futura Bk"/>
                <a:cs typeface="Arial" pitchFamily="34" charset="0"/>
              </a:rPr>
              <a:t>HP Confidential</a:t>
            </a:r>
          </a:p>
        </p:txBody>
      </p:sp>
      <p:sp>
        <p:nvSpPr>
          <p:cNvPr id="5125" name="Title Placeholder 8"/>
          <p:cNvSpPr>
            <a:spLocks noGrp="1"/>
          </p:cNvSpPr>
          <p:nvPr>
            <p:ph type="title"/>
          </p:nvPr>
        </p:nvSpPr>
        <p:spPr bwMode="auto">
          <a:xfrm>
            <a:off x="338138" y="136525"/>
            <a:ext cx="8375650" cy="65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DOUBLE LINE TITLE</a:t>
            </a:r>
            <a:br>
              <a:rPr lang="en-US" smtClean="0"/>
            </a:br>
            <a:r>
              <a:rPr lang="en-US" smtClean="0"/>
              <a:t>FOR ADDED CONTENT</a:t>
            </a:r>
          </a:p>
        </p:txBody>
      </p:sp>
      <p:sp>
        <p:nvSpPr>
          <p:cNvPr id="5126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338138" y="1150938"/>
            <a:ext cx="8348662" cy="347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01" r:id="rId1"/>
    <p:sldLayoutId id="2147485702" r:id="rId2"/>
    <p:sldLayoutId id="2147485703" r:id="rId3"/>
    <p:sldLayoutId id="2147485704" r:id="rId4"/>
    <p:sldLayoutId id="2147485705" r:id="rId5"/>
    <p:sldLayoutId id="2147485706" r:id="rId6"/>
    <p:sldLayoutId id="2147485707" r:id="rId7"/>
    <p:sldLayoutId id="2147485708" r:id="rId8"/>
    <p:sldLayoutId id="2147485709" r:id="rId9"/>
    <p:sldLayoutId id="2147485710" r:id="rId10"/>
    <p:sldLayoutId id="2147485711" r:id="rId11"/>
  </p:sldLayoutIdLst>
  <p:transition/>
  <p:hf hdr="0" ft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bg1"/>
        </a:buClr>
        <a:buSzPct val="100000"/>
        <a:buFont typeface="Futura Bk" pitchFamily="34" charset="0"/>
        <a:buChar char="–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sz="1600">
          <a:solidFill>
            <a:schemeClr val="bg1"/>
          </a:solidFill>
          <a:latin typeface="+mn-lt"/>
        </a:defRPr>
      </a:lvl2pPr>
      <a:lvl3pPr marL="5715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5pPr>
      <a:lvl6pPr marL="14859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6pPr>
      <a:lvl7pPr marL="19431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7pPr>
      <a:lvl8pPr marL="24003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8pPr>
      <a:lvl9pPr marL="28575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6" descr="HP_D_RGB_M.pn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448675" y="4651375"/>
            <a:ext cx="514350" cy="3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9" descr="Purple-Shards.pn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1000" y="-514350"/>
            <a:ext cx="1295400" cy="202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8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9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12" r:id="rId1"/>
    <p:sldLayoutId id="2147485713" r:id="rId2"/>
    <p:sldLayoutId id="2147485714" r:id="rId3"/>
    <p:sldLayoutId id="2147485715" r:id="rId4"/>
    <p:sldLayoutId id="2147485716" r:id="rId5"/>
    <p:sldLayoutId id="2147485717" r:id="rId6"/>
    <p:sldLayoutId id="2147485718" r:id="rId7"/>
    <p:sldLayoutId id="2147485719" r:id="rId8"/>
    <p:sldLayoutId id="2147485720" r:id="rId9"/>
    <p:sldLayoutId id="2147485721" r:id="rId10"/>
    <p:sldLayoutId id="2147485722" r:id="rId11"/>
  </p:sldLayoutIdLst>
  <p:transition/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MS PGothic" pitchFamily="34" charset="-128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Futura Bk" pitchFamily="34" charset="0"/>
          <a:ea typeface="ＭＳ Ｐゴシック" pitchFamily="34" charset="-128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SzPct val="100000"/>
        <a:buFont typeface="Futura Bk" pitchFamily="34" charset="0"/>
        <a:buChar char="–"/>
        <a:defRPr sz="20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MS PGothic" pitchFamily="34" charset="-128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SzPct val="80000"/>
        <a:buFont typeface="Arial" pitchFamily="34" charset="0"/>
        <a:buChar char="•"/>
        <a:defRPr sz="1200">
          <a:solidFill>
            <a:schemeClr val="tx1"/>
          </a:solidFill>
          <a:latin typeface="+mn-lt"/>
          <a:ea typeface="MS PGothic" pitchFamily="34" charset="-128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MS PGothic" pitchFamily="34" charset="-128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393B3D"/>
            </a:gs>
            <a:gs pos="13000">
              <a:srgbClr val="393B3D"/>
            </a:gs>
            <a:gs pos="100000">
              <a:srgbClr val="1A1819"/>
            </a:gs>
          </a:gsLst>
          <a:lin ang="63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491538" y="4691063"/>
            <a:ext cx="390525" cy="29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 noGrp="1"/>
          </p:cNvSpPr>
          <p:nvPr userDrawn="1">
            <p:custDataLst>
              <p:tags r:id="rId13"/>
            </p:custDataLst>
          </p:nvPr>
        </p:nvSpPr>
        <p:spPr bwMode="auto">
          <a:xfrm>
            <a:off x="-46038" y="4913313"/>
            <a:ext cx="366713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 anchor="ctr"/>
          <a:lstStyle/>
          <a:p>
            <a:pPr defTabSz="912813" eaLnBrk="0" hangingPunct="0">
              <a:defRPr/>
            </a:pPr>
            <a:fld id="{C4AC4DE7-CD35-4B24-B1FF-FB64DD491D9A}" type="slidenum">
              <a:rPr lang="en-US" sz="900">
                <a:solidFill>
                  <a:srgbClr val="FFFFFF"/>
                </a:solidFill>
                <a:latin typeface="Futura Bk"/>
                <a:cs typeface="Arial" pitchFamily="34" charset="0"/>
              </a:rPr>
              <a:pPr defTabSz="912813" eaLnBrk="0" hangingPunct="0">
                <a:defRPr/>
              </a:pPr>
              <a:t>‹#›</a:t>
            </a:fld>
            <a:endParaRPr lang="en-US" sz="900" dirty="0">
              <a:solidFill>
                <a:srgbClr val="FFFFFF"/>
              </a:solidFill>
              <a:latin typeface="Futura Bk"/>
              <a:cs typeface="Arial" pitchFamily="34" charset="0"/>
            </a:endParaRPr>
          </a:p>
        </p:txBody>
      </p:sp>
      <p:sp>
        <p:nvSpPr>
          <p:cNvPr id="6" name="Text Box 16"/>
          <p:cNvSpPr txBox="1"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 rot="16200000">
            <a:off x="-307975" y="4360863"/>
            <a:ext cx="892175" cy="36512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900" dirty="0">
                <a:solidFill>
                  <a:srgbClr val="FFFFFF"/>
                </a:solidFill>
                <a:latin typeface="Futura Bk"/>
                <a:cs typeface="Arial" pitchFamily="34" charset="0"/>
              </a:rPr>
              <a:t>HP Confidential</a:t>
            </a:r>
          </a:p>
        </p:txBody>
      </p:sp>
      <p:sp>
        <p:nvSpPr>
          <p:cNvPr id="7173" name="Title Placeholder 8"/>
          <p:cNvSpPr>
            <a:spLocks noGrp="1"/>
          </p:cNvSpPr>
          <p:nvPr>
            <p:ph type="title"/>
          </p:nvPr>
        </p:nvSpPr>
        <p:spPr bwMode="auto">
          <a:xfrm>
            <a:off x="338138" y="136525"/>
            <a:ext cx="8375650" cy="65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DOUBLE LINE TITLE</a:t>
            </a:r>
            <a:br>
              <a:rPr lang="en-US" smtClean="0"/>
            </a:br>
            <a:r>
              <a:rPr lang="en-US" smtClean="0"/>
              <a:t>FOR ADDED CONTENT</a:t>
            </a:r>
          </a:p>
        </p:txBody>
      </p:sp>
      <p:sp>
        <p:nvSpPr>
          <p:cNvPr id="717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338138" y="1150938"/>
            <a:ext cx="8348662" cy="347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23" r:id="rId1"/>
    <p:sldLayoutId id="2147485724" r:id="rId2"/>
    <p:sldLayoutId id="2147485725" r:id="rId3"/>
    <p:sldLayoutId id="2147485726" r:id="rId4"/>
    <p:sldLayoutId id="2147485727" r:id="rId5"/>
    <p:sldLayoutId id="2147485728" r:id="rId6"/>
    <p:sldLayoutId id="2147485729" r:id="rId7"/>
    <p:sldLayoutId id="2147485730" r:id="rId8"/>
    <p:sldLayoutId id="2147485731" r:id="rId9"/>
    <p:sldLayoutId id="2147485732" r:id="rId10"/>
    <p:sldLayoutId id="2147485733" r:id="rId11"/>
  </p:sldLayoutIdLst>
  <p:transition/>
  <p:hf hdr="0" ft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bg1"/>
        </a:buClr>
        <a:buSzPct val="100000"/>
        <a:buFont typeface="Futura Bk" pitchFamily="34" charset="0"/>
        <a:buChar char="–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sz="1600">
          <a:solidFill>
            <a:schemeClr val="bg1"/>
          </a:solidFill>
          <a:latin typeface="+mn-lt"/>
        </a:defRPr>
      </a:lvl2pPr>
      <a:lvl3pPr marL="5715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Font typeface="Futura Bk" pitchFamily="34" charset="0"/>
        <a:buChar char="−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7" descr="hp-logo-reversed.pn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196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8150" y="4913313"/>
            <a:ext cx="387350" cy="163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>
            <a:lvl1pPr algn="l" eaLnBrk="0" hangingPunct="0">
              <a:defRPr sz="900">
                <a:solidFill>
                  <a:srgbClr val="FFFFFF"/>
                </a:solidFill>
                <a:latin typeface="Futura Hv"/>
                <a:ea typeface="MS PGothic" pitchFamily="34" charset="-128"/>
                <a:cs typeface="Arial"/>
              </a:defRPr>
            </a:lvl1pPr>
          </a:lstStyle>
          <a:p>
            <a:pPr>
              <a:defRPr/>
            </a:pPr>
            <a:fld id="{87393431-741C-49F6-999C-B048DADBE2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34" r:id="rId1"/>
    <p:sldLayoutId id="2147485735" r:id="rId2"/>
    <p:sldLayoutId id="2147485736" r:id="rId3"/>
    <p:sldLayoutId id="2147485737" r:id="rId4"/>
    <p:sldLayoutId id="2147485738" r:id="rId5"/>
    <p:sldLayoutId id="2147485739" r:id="rId6"/>
    <p:sldLayoutId id="2147485740" r:id="rId7"/>
    <p:sldLayoutId id="2147485741" r:id="rId8"/>
    <p:sldLayoutId id="2147485742" r:id="rId9"/>
    <p:sldLayoutId id="2147485743" r:id="rId10"/>
    <p:sldLayoutId id="2147485744" r:id="rId11"/>
  </p:sldLayoutIdLst>
  <p:transition>
    <p:wipe dir="r"/>
  </p:transition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600">
          <a:solidFill>
            <a:schemeClr val="bg1"/>
          </a:solidFill>
          <a:latin typeface="+mn-lt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200">
          <a:solidFill>
            <a:schemeClr val="bg1"/>
          </a:solidFill>
          <a:latin typeface="+mn-lt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hp-logo-reversed.pn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3"/>
          <p:cNvSpPr txBox="1"/>
          <p:nvPr userDrawn="1"/>
        </p:nvSpPr>
        <p:spPr bwMode="gray">
          <a:xfrm>
            <a:off x="249238" y="4897438"/>
            <a:ext cx="384175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>
              <a:defRPr/>
            </a:pPr>
            <a:fld id="{E1EC4291-B2BF-42C8-9638-CAC79C5AD4E2}" type="slidenum">
              <a:rPr lang="en-US" sz="900">
                <a:solidFill>
                  <a:schemeClr val="bg1"/>
                </a:solidFill>
                <a:latin typeface="Futura Bk" pitchFamily="34" charset="0"/>
              </a:rPr>
              <a:pPr algn="l">
                <a:defRPr/>
              </a:pPr>
              <a:t>‹#›</a:t>
            </a:fld>
            <a:endParaRPr lang="en-US" sz="900" dirty="0">
              <a:solidFill>
                <a:schemeClr val="bg1"/>
              </a:solidFill>
              <a:latin typeface="Futura Bk" pitchFamily="34" charset="0"/>
            </a:endParaRPr>
          </a:p>
        </p:txBody>
      </p:sp>
      <p:sp>
        <p:nvSpPr>
          <p:cNvPr id="9220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221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45" r:id="rId1"/>
    <p:sldLayoutId id="2147485746" r:id="rId2"/>
    <p:sldLayoutId id="2147485747" r:id="rId3"/>
    <p:sldLayoutId id="2147485748" r:id="rId4"/>
    <p:sldLayoutId id="2147485749" r:id="rId5"/>
    <p:sldLayoutId id="2147485750" r:id="rId6"/>
    <p:sldLayoutId id="2147485751" r:id="rId7"/>
    <p:sldLayoutId id="2147485752" r:id="rId8"/>
    <p:sldLayoutId id="2147485753" r:id="rId9"/>
    <p:sldLayoutId id="2147485754" r:id="rId10"/>
    <p:sldLayoutId id="2147485755" r:id="rId11"/>
  </p:sldLayoutIdLst>
  <p:transition>
    <p:wipe dir="r"/>
  </p:transition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600">
          <a:solidFill>
            <a:schemeClr val="bg1"/>
          </a:solidFill>
          <a:latin typeface="+mn-lt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200">
          <a:solidFill>
            <a:schemeClr val="bg1"/>
          </a:solidFill>
          <a:latin typeface="+mn-lt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7" descr="hp-logo-reversed.pn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3" name="Picture 6" descr="HP_InstantOn_0001.jp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4" name="Picture 8" descr="hp-logo-reversed.pn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482013" y="4679950"/>
            <a:ext cx="417512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7"/>
          <p:cNvSpPr/>
          <p:nvPr userDrawn="1"/>
        </p:nvSpPr>
        <p:spPr>
          <a:xfrm>
            <a:off x="287338" y="4879975"/>
            <a:ext cx="1806575" cy="1841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tx1">
                    <a:lumMod val="65000"/>
                  </a:schemeClr>
                </a:solidFill>
                <a:latin typeface="Futura Bk" pitchFamily="34" charset="0"/>
              </a:rPr>
              <a:t>©2010 Hewlett-Packard Development Company</a:t>
            </a:r>
            <a:endParaRPr lang="en-US" sz="1400" dirty="0">
              <a:solidFill>
                <a:schemeClr val="tx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10246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47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56" r:id="rId1"/>
    <p:sldLayoutId id="2147485757" r:id="rId2"/>
    <p:sldLayoutId id="2147485758" r:id="rId3"/>
    <p:sldLayoutId id="2147485759" r:id="rId4"/>
    <p:sldLayoutId id="2147485760" r:id="rId5"/>
    <p:sldLayoutId id="2147485761" r:id="rId6"/>
    <p:sldLayoutId id="2147485762" r:id="rId7"/>
    <p:sldLayoutId id="2147485763" r:id="rId8"/>
    <p:sldLayoutId id="2147485764" r:id="rId9"/>
    <p:sldLayoutId id="2147485765" r:id="rId10"/>
    <p:sldLayoutId id="2147485766" r:id="rId11"/>
  </p:sldLayoutIdLst>
  <p:transition>
    <p:wipe dir="r"/>
  </p:transition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600">
          <a:solidFill>
            <a:schemeClr val="bg1"/>
          </a:solidFill>
          <a:latin typeface="+mn-lt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200">
          <a:solidFill>
            <a:schemeClr val="bg1"/>
          </a:solidFill>
          <a:latin typeface="+mn-lt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7" descr="hp-logo-reversed.pn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378825" y="4559300"/>
            <a:ext cx="43180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Title Placeholder 16"/>
          <p:cNvSpPr>
            <a:spLocks noGrp="1"/>
          </p:cNvSpPr>
          <p:nvPr>
            <p:ph type="title"/>
          </p:nvPr>
        </p:nvSpPr>
        <p:spPr bwMode="auto">
          <a:xfrm>
            <a:off x="338138" y="315913"/>
            <a:ext cx="837565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1268" name="Text Placeholder 17"/>
          <p:cNvSpPr>
            <a:spLocks noGrp="1"/>
          </p:cNvSpPr>
          <p:nvPr>
            <p:ph type="body" idx="1"/>
          </p:nvPr>
        </p:nvSpPr>
        <p:spPr bwMode="auto">
          <a:xfrm>
            <a:off x="365125" y="1152525"/>
            <a:ext cx="8348663" cy="346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67" r:id="rId1"/>
    <p:sldLayoutId id="2147485768" r:id="rId2"/>
    <p:sldLayoutId id="2147485769" r:id="rId3"/>
    <p:sldLayoutId id="2147485770" r:id="rId4"/>
    <p:sldLayoutId id="2147485771" r:id="rId5"/>
    <p:sldLayoutId id="2147485772" r:id="rId6"/>
    <p:sldLayoutId id="2147485773" r:id="rId7"/>
    <p:sldLayoutId id="2147485774" r:id="rId8"/>
    <p:sldLayoutId id="2147485775" r:id="rId9"/>
    <p:sldLayoutId id="2147485776" r:id="rId10"/>
    <p:sldLayoutId id="2147485777" r:id="rId11"/>
  </p:sldLayoutIdLst>
  <p:transition>
    <p:wipe dir="r"/>
  </p:transition>
  <p:hf hdr="0" dt="0"/>
  <p:txStyles>
    <p:titleStyle>
      <a:lvl1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2pPr>
      <a:lvl3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3pPr>
      <a:lvl4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4pPr>
      <a:lvl5pPr algn="l" rtl="0" eaLnBrk="0" fontAlgn="base" hangingPunct="0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5pPr>
      <a:lvl6pPr marL="4572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6pPr>
      <a:lvl7pPr marL="9144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7pPr>
      <a:lvl8pPr marL="13716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8pPr>
      <a:lvl9pPr marL="1828800" algn="l" rtl="0" fontAlgn="base">
        <a:lnSpc>
          <a:spcPts val="3300"/>
        </a:lnSpc>
        <a:spcBef>
          <a:spcPct val="0"/>
        </a:spcBef>
        <a:spcAft>
          <a:spcPct val="0"/>
        </a:spcAft>
        <a:defRPr sz="3100">
          <a:solidFill>
            <a:schemeClr val="bg1"/>
          </a:solidFill>
          <a:latin typeface="Futura Bk" pitchFamily="34" charset="0"/>
        </a:defRPr>
      </a:lvl9pPr>
    </p:titleStyle>
    <p:bodyStyle>
      <a:lvl1pPr marL="225425" indent="-225425" algn="l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2000">
          <a:solidFill>
            <a:schemeClr val="bg1"/>
          </a:solidFill>
          <a:latin typeface="+mn-lt"/>
          <a:ea typeface="+mn-ea"/>
          <a:cs typeface="+mn-cs"/>
        </a:defRPr>
      </a:lvl1pPr>
      <a:lvl2pPr marL="342900" indent="-114300" algn="l" rtl="0" eaLnBrk="0" fontAlgn="base" hangingPunct="0">
        <a:lnSpc>
          <a:spcPct val="110000"/>
        </a:lnSpc>
        <a:spcBef>
          <a:spcPts val="5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600">
          <a:solidFill>
            <a:schemeClr val="bg1"/>
          </a:solidFill>
          <a:latin typeface="+mn-lt"/>
        </a:defRPr>
      </a:lvl2pPr>
      <a:lvl3pPr marL="571500" indent="-16827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3pPr>
      <a:lvl4pPr marL="800100" indent="-114300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Futura Bk" pitchFamily="34" charset="0"/>
        <a:buChar char="–"/>
        <a:defRPr sz="1200">
          <a:solidFill>
            <a:schemeClr val="bg1"/>
          </a:solidFill>
          <a:latin typeface="+mn-lt"/>
        </a:defRPr>
      </a:lvl4pPr>
      <a:lvl5pPr marL="1028700" indent="-174625" algn="l" rtl="0" eaLnBrk="0" fontAlgn="base" hangingPunct="0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5pPr>
      <a:lvl6pPr marL="14859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6pPr>
      <a:lvl7pPr marL="19431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7pPr>
      <a:lvl8pPr marL="24003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8pPr>
      <a:lvl9pPr marL="2857500" indent="-174625" algn="l" rtl="0" fontAlgn="base">
        <a:lnSpc>
          <a:spcPct val="110000"/>
        </a:lnSpc>
        <a:spcBef>
          <a:spcPts val="400"/>
        </a:spcBef>
        <a:spcAft>
          <a:spcPct val="0"/>
        </a:spcAft>
        <a:buClr>
          <a:schemeClr val="tx2"/>
        </a:buClr>
        <a:buSzPct val="80000"/>
        <a:buFont typeface="Arial" pitchFamily="34" charset="0"/>
        <a:buChar char="•"/>
        <a:defRPr sz="12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76693" y="253355"/>
            <a:ext cx="7780610" cy="4657858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2000" cap="all" dirty="0" smtClean="0">
                <a:solidFill>
                  <a:schemeClr val="bg1"/>
                </a:solidFill>
                <a:effectLst/>
                <a:latin typeface="+mn-lt"/>
              </a:rPr>
              <a:t>“IT in The d” presents…</a:t>
            </a:r>
          </a:p>
          <a:p>
            <a:pPr algn="ctr">
              <a:lnSpc>
                <a:spcPct val="85000"/>
              </a:lnSpc>
            </a:pPr>
            <a:endParaRPr lang="en-US" sz="4000" cap="all" dirty="0" smtClean="0">
              <a:solidFill>
                <a:schemeClr val="bg1"/>
              </a:solidFill>
              <a:effectLst/>
              <a:latin typeface="Futura Bk" pitchFamily="34" charset="0"/>
            </a:endParaRPr>
          </a:p>
          <a:p>
            <a:pPr algn="ctr">
              <a:lnSpc>
                <a:spcPct val="85000"/>
              </a:lnSpc>
            </a:pPr>
            <a:r>
              <a:rPr lang="en-US" sz="4000" cap="all" dirty="0" smtClean="0">
                <a:solidFill>
                  <a:schemeClr val="bg1"/>
                </a:solidFill>
                <a:effectLst>
                  <a:reflection blurRad="6350" stA="40000" endPos="36000" dir="5400000" sy="-100000" algn="bl" rotWithShape="0"/>
                </a:effectLst>
                <a:latin typeface="Futura Bk" pitchFamily="34" charset="0"/>
              </a:rPr>
              <a:t>The 10 commandments of networki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50" y="2439322"/>
            <a:ext cx="2857500" cy="215265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VI. Thou Shall </a:t>
            </a:r>
            <a:r>
              <a:rPr lang="en-US" sz="3000" dirty="0"/>
              <a:t>N</a:t>
            </a:r>
            <a:r>
              <a:rPr lang="en-US" sz="3000" dirty="0" smtClean="0"/>
              <a:t>ot </a:t>
            </a:r>
            <a:r>
              <a:rPr lang="en-US" sz="3000" dirty="0"/>
              <a:t>H</a:t>
            </a:r>
            <a:r>
              <a:rPr lang="en-US" sz="3000" dirty="0" smtClean="0"/>
              <a:t>ave an Elevator </a:t>
            </a:r>
            <a:r>
              <a:rPr lang="en-US" sz="3000" dirty="0"/>
              <a:t>P</a:t>
            </a:r>
            <a:r>
              <a:rPr lang="en-US" sz="3000" dirty="0" smtClean="0"/>
              <a:t>itch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Just don’t.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7704" y="1254582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Know your audience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Pitch should be different for CFO vs. recruiter vs. peer vs. sales guy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“My name is Bob with Cisco, what do you do?”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nything more than 10 seconds and you’ve lost the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4529" y="973393"/>
            <a:ext cx="3116383" cy="3554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01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VII. Thou Shall </a:t>
            </a:r>
            <a:r>
              <a:rPr lang="en-US" sz="3000" dirty="0"/>
              <a:t>N</a:t>
            </a:r>
            <a:r>
              <a:rPr lang="en-US" sz="3000" dirty="0" smtClean="0"/>
              <a:t>ot Li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It’s a small world after al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7704" y="1343072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o need to exaggerate 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People will find out quickly, and the word will spread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on’t be ashamed of who you are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ee: I’m trying to get into the industry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7783" y="460727"/>
            <a:ext cx="28575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01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VIII. Thou Shall </a:t>
            </a:r>
            <a:r>
              <a:rPr lang="en-US" sz="3000" dirty="0"/>
              <a:t>U</a:t>
            </a:r>
            <a:r>
              <a:rPr lang="en-US" sz="3000" dirty="0" smtClean="0"/>
              <a:t>nderstand Quality vs. Quantit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Networking is </a:t>
            </a:r>
            <a:r>
              <a:rPr lang="en-US" u="sng" dirty="0" smtClean="0"/>
              <a:t>NOT</a:t>
            </a:r>
            <a:r>
              <a:rPr lang="en-US" dirty="0" smtClean="0"/>
              <a:t> a video gam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53964" y="1544639"/>
            <a:ext cx="4572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o prize for the most business card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o awards for the most LinkedIn connection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Only have time in your life for roughly 700 people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ier your network and make contact appropriately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642" y="1365955"/>
            <a:ext cx="3928535" cy="294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53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IX. Thou Shall </a:t>
            </a:r>
            <a:r>
              <a:rPr lang="en-US" sz="3000" dirty="0"/>
              <a:t>U</a:t>
            </a:r>
            <a:r>
              <a:rPr lang="en-US" sz="3000" dirty="0" smtClean="0"/>
              <a:t>nderstand Social Medi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They are all not the sam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53964" y="1515142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acebook is your living room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err="1" smtClean="0">
                <a:solidFill>
                  <a:schemeClr val="bg1"/>
                </a:solidFill>
              </a:rPr>
              <a:t>Linkedin</a:t>
            </a:r>
            <a:r>
              <a:rPr lang="en-US" dirty="0" smtClean="0">
                <a:solidFill>
                  <a:schemeClr val="bg1"/>
                </a:solidFill>
              </a:rPr>
              <a:t> is your office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witter is…well, we still don’t know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Leave your political views at home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Everything you write is there forever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top Twittering yourself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964" y="912069"/>
            <a:ext cx="3834581" cy="396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03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X. Thou Shall </a:t>
            </a:r>
            <a:r>
              <a:rPr lang="en-US" sz="3000" dirty="0"/>
              <a:t>F</a:t>
            </a:r>
            <a:r>
              <a:rPr lang="en-US" sz="3000" dirty="0" smtClean="0"/>
              <a:t>ollow </a:t>
            </a:r>
            <a:r>
              <a:rPr lang="en-US" sz="3000" dirty="0"/>
              <a:t>U</a:t>
            </a:r>
            <a:r>
              <a:rPr lang="en-US" sz="3000" dirty="0" smtClean="0"/>
              <a:t>p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The key to networking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53964" y="1647318"/>
            <a:ext cx="4572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end a thank you note the next day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on’t be overbearing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end a </a:t>
            </a:r>
            <a:r>
              <a:rPr lang="en-US" dirty="0" err="1" smtClean="0">
                <a:solidFill>
                  <a:schemeClr val="bg1"/>
                </a:solidFill>
              </a:rPr>
              <a:t>Linkedin</a:t>
            </a:r>
            <a:r>
              <a:rPr lang="en-US" dirty="0" smtClean="0">
                <a:solidFill>
                  <a:schemeClr val="bg1"/>
                </a:solidFill>
              </a:rPr>
              <a:t> request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sk for coffee if you think the relationship will be </a:t>
            </a:r>
            <a:r>
              <a:rPr lang="en-US" b="1" i="1" u="sng" dirty="0" smtClean="0">
                <a:solidFill>
                  <a:schemeClr val="bg1"/>
                </a:solidFill>
              </a:rPr>
              <a:t>mutually beneficial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Help regardless of reciprocation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Remember karma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964" y="1692700"/>
            <a:ext cx="3803970" cy="2217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12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138" y="197929"/>
            <a:ext cx="8375650" cy="568990"/>
          </a:xfrm>
        </p:spPr>
        <p:txBody>
          <a:bodyPr/>
          <a:lstStyle/>
          <a:p>
            <a:r>
              <a:rPr lang="en-US" dirty="0" smtClean="0"/>
              <a:t>Call to Action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5163" y="822325"/>
            <a:ext cx="8478837" cy="3660775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rgbClr val="FFFF00"/>
                </a:solidFill>
              </a:rPr>
              <a:t>SHOW UP</a:t>
            </a:r>
            <a:endParaRPr lang="en-US" sz="2800" dirty="0" smtClean="0">
              <a:solidFill>
                <a:schemeClr val="bg1"/>
              </a:solidFill>
            </a:endParaRPr>
          </a:p>
          <a:p>
            <a:r>
              <a:rPr lang="en-US" sz="2800" dirty="0" smtClean="0">
                <a:solidFill>
                  <a:srgbClr val="FFFF00"/>
                </a:solidFill>
              </a:rPr>
              <a:t>PREPARE</a:t>
            </a:r>
            <a:endParaRPr lang="en-US" sz="2800" dirty="0" smtClean="0">
              <a:solidFill>
                <a:schemeClr val="bg1"/>
              </a:solidFill>
            </a:endParaRPr>
          </a:p>
          <a:p>
            <a:r>
              <a:rPr lang="en-US" sz="2800" dirty="0" smtClean="0">
                <a:solidFill>
                  <a:srgbClr val="FFFF00"/>
                </a:solidFill>
              </a:rPr>
              <a:t>ENGAGE</a:t>
            </a:r>
            <a:endParaRPr lang="en-US" sz="2800" dirty="0" smtClean="0">
              <a:solidFill>
                <a:schemeClr val="bg1"/>
              </a:solidFill>
            </a:endParaRPr>
          </a:p>
          <a:p>
            <a:r>
              <a:rPr lang="en-US" sz="2900" dirty="0" smtClean="0">
                <a:solidFill>
                  <a:srgbClr val="FFFF00"/>
                </a:solidFill>
              </a:rPr>
              <a:t>KNOW YOUR GOAL</a:t>
            </a:r>
            <a:endParaRPr lang="en-US" dirty="0" smtClean="0"/>
          </a:p>
          <a:p>
            <a:r>
              <a:rPr lang="en-US" sz="2900" dirty="0" smtClean="0">
                <a:solidFill>
                  <a:srgbClr val="FFFF00"/>
                </a:solidFill>
              </a:rPr>
              <a:t>FOLLOW UP</a:t>
            </a:r>
          </a:p>
          <a:p>
            <a:r>
              <a:rPr lang="en-US" sz="2900" dirty="0" smtClean="0">
                <a:solidFill>
                  <a:srgbClr val="FFFF00"/>
                </a:solidFill>
              </a:rPr>
              <a:t>KARMA</a:t>
            </a:r>
            <a:endParaRPr lang="en-US" dirty="0" smtClean="0"/>
          </a:p>
          <a:p>
            <a:endParaRPr lang="en-US" dirty="0" smtClean="0"/>
          </a:p>
          <a:p>
            <a:endParaRPr lang="en-US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138" y="197929"/>
            <a:ext cx="8375650" cy="568990"/>
          </a:xfrm>
        </p:spPr>
        <p:txBody>
          <a:bodyPr/>
          <a:lstStyle/>
          <a:p>
            <a:r>
              <a:rPr lang="en-US" dirty="0" smtClean="0"/>
              <a:t>If you’re looking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5163" y="822325"/>
            <a:ext cx="8478837" cy="3660775"/>
          </a:xfrm>
        </p:spPr>
        <p:txBody>
          <a:bodyPr>
            <a:normAutofit/>
          </a:bodyPr>
          <a:lstStyle/>
          <a:p>
            <a:r>
              <a:rPr lang="en-US" sz="2800" dirty="0" smtClean="0">
                <a:solidFill>
                  <a:srgbClr val="FFFF00"/>
                </a:solidFill>
              </a:rPr>
              <a:t>Casual Networking Event</a:t>
            </a:r>
          </a:p>
          <a:p>
            <a:pPr lvl="1"/>
            <a:r>
              <a:rPr lang="en-US" sz="2400" dirty="0" smtClean="0"/>
              <a:t>Twice each month</a:t>
            </a:r>
          </a:p>
          <a:p>
            <a:pPr lvl="1"/>
            <a:r>
              <a:rPr lang="en-US" sz="2400" dirty="0" smtClean="0"/>
              <a:t>Check our website, Facebook page or </a:t>
            </a:r>
            <a:r>
              <a:rPr lang="en-US" sz="2400" dirty="0" err="1" smtClean="0"/>
              <a:t>Meetup</a:t>
            </a:r>
            <a:r>
              <a:rPr lang="en-US" sz="2400" dirty="0" smtClean="0"/>
              <a:t> group</a:t>
            </a:r>
            <a:endParaRPr lang="en-US" sz="2400" dirty="0" smtClean="0"/>
          </a:p>
          <a:p>
            <a:r>
              <a:rPr lang="en-US" sz="2800" dirty="0" smtClean="0">
                <a:solidFill>
                  <a:srgbClr val="FFFF00"/>
                </a:solidFill>
              </a:rPr>
              <a:t>Pink Slip Party</a:t>
            </a:r>
          </a:p>
          <a:p>
            <a:pPr lvl="1"/>
            <a:r>
              <a:rPr lang="en-US" sz="2400" dirty="0" smtClean="0"/>
              <a:t>Twice per year</a:t>
            </a:r>
          </a:p>
          <a:p>
            <a:pPr lvl="1"/>
            <a:r>
              <a:rPr lang="en-US" sz="2400" dirty="0" smtClean="0"/>
              <a:t>March and September</a:t>
            </a:r>
            <a:endParaRPr lang="en-US" sz="2400" dirty="0" smtClean="0"/>
          </a:p>
          <a:p>
            <a:r>
              <a:rPr lang="en-US" sz="2800" dirty="0" smtClean="0">
                <a:solidFill>
                  <a:srgbClr val="FFFF00"/>
                </a:solidFill>
              </a:rPr>
              <a:t>Be there</a:t>
            </a:r>
            <a:endParaRPr lang="en-US" dirty="0" smtClean="0"/>
          </a:p>
          <a:p>
            <a:endParaRPr lang="en-US" dirty="0" smtClean="0"/>
          </a:p>
          <a:p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405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2665046"/>
            <a:ext cx="9144000" cy="218049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tlCol="0" anchor="ctr"/>
          <a:lstStyle/>
          <a:p>
            <a:pPr algn="ctr">
              <a:lnSpc>
                <a:spcPct val="85000"/>
              </a:lnSpc>
            </a:pPr>
            <a:endParaRPr lang="en-US" sz="2000" dirty="0" smtClean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Rectangle 5"/>
          <p:cNvSpPr txBox="1">
            <a:spLocks/>
          </p:cNvSpPr>
          <p:nvPr/>
        </p:nvSpPr>
        <p:spPr bwMode="auto">
          <a:xfrm>
            <a:off x="0" y="0"/>
            <a:ext cx="3218213" cy="169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ts val="33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 pitchFamily="34" charset="0"/>
                <a:ea typeface="+mj-ea"/>
                <a:cs typeface="+mj-cs"/>
              </a:rPr>
              <a:t>THANK YOU…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5690" y="1537680"/>
            <a:ext cx="5952646" cy="2428922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76692" y="150117"/>
            <a:ext cx="7390615" cy="578084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4000" cap="all" dirty="0" smtClean="0">
                <a:solidFill>
                  <a:srgbClr val="F39900"/>
                </a:solidFill>
                <a:effectLst/>
                <a:latin typeface="Futura Hv" pitchFamily="34" charset="0"/>
              </a:rPr>
              <a:t>So, who are you guys?</a:t>
            </a:r>
            <a:endParaRPr lang="en-US" sz="4000" cap="all" dirty="0" smtClean="0">
              <a:solidFill>
                <a:schemeClr val="bg1"/>
              </a:solidFill>
              <a:effectLst>
                <a:reflection blurRad="6350" stA="40000" endPos="36000" dir="5400000" sy="-100000" algn="bl" rotWithShape="0"/>
              </a:effectLst>
              <a:latin typeface="Futura Bk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idx="4294967295"/>
          </p:nvPr>
        </p:nvSpPr>
        <p:spPr>
          <a:xfrm>
            <a:off x="0" y="292100"/>
            <a:ext cx="8375650" cy="5048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 bwMode="auto">
          <a:xfrm>
            <a:off x="371359" y="943897"/>
            <a:ext cx="8478838" cy="393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55000" lnSpcReduction="20000"/>
          </a:bodyPr>
          <a:lstStyle>
            <a:lvl1pPr marL="225425" indent="-225425" algn="l" rtl="0" eaLnBrk="0" fontAlgn="base" hangingPunct="0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-1143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Futura Bk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71500" indent="-168275" algn="l" rtl="0" eaLnBrk="0" fontAlgn="base" hangingPunct="0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100" indent="-114300" algn="l" rtl="0" eaLnBrk="0" fontAlgn="base" hangingPunct="0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Futura Bk" pitchFamily="34" charset="0"/>
              <a:buChar char="–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28700" indent="-174625" algn="l" rtl="0" eaLnBrk="0" fontAlgn="base" hangingPunct="0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Founded </a:t>
            </a:r>
            <a:r>
              <a:rPr lang="en-US" sz="2800" dirty="0"/>
              <a:t>in 2001 as the “anti-group” (see: didn’t like any groups)</a:t>
            </a:r>
          </a:p>
          <a:p>
            <a:r>
              <a:rPr lang="en-US" sz="2800" dirty="0"/>
              <a:t>Re-branded in 2014 as solely “IT in the D”</a:t>
            </a:r>
          </a:p>
          <a:p>
            <a:r>
              <a:rPr lang="en-US" sz="2800" dirty="0"/>
              <a:t>Run by 3 guys (The Sales Guy, The Geek, and The Voice Of Reason)</a:t>
            </a:r>
          </a:p>
          <a:p>
            <a:r>
              <a:rPr lang="en-US" sz="2800" smtClean="0"/>
              <a:t>Over </a:t>
            </a:r>
            <a:r>
              <a:rPr lang="en-US" sz="2800" smtClean="0"/>
              <a:t>5,500 </a:t>
            </a:r>
            <a:r>
              <a:rPr lang="en-US" sz="2800" dirty="0"/>
              <a:t>members on </a:t>
            </a:r>
            <a:r>
              <a:rPr lang="en-US" sz="2800" dirty="0" smtClean="0"/>
              <a:t>LinkedIn</a:t>
            </a:r>
            <a:endParaRPr lang="en-US" sz="2800" dirty="0"/>
          </a:p>
          <a:p>
            <a:r>
              <a:rPr lang="en-US" sz="2800" dirty="0"/>
              <a:t>Over 2,000 unique visitors and 8,000 page views daily at </a:t>
            </a:r>
            <a:r>
              <a:rPr lang="en-US" sz="2800" dirty="0" smtClean="0"/>
              <a:t>ITinTheD.com</a:t>
            </a:r>
            <a:endParaRPr lang="en-US" sz="2800" dirty="0"/>
          </a:p>
          <a:p>
            <a:r>
              <a:rPr lang="en-US" sz="2800" dirty="0"/>
              <a:t>IT in the D podcast listened to by over </a:t>
            </a:r>
            <a:r>
              <a:rPr lang="en-US" sz="2800" dirty="0" smtClean="0"/>
              <a:t>20</a:t>
            </a:r>
            <a:r>
              <a:rPr lang="en-US" sz="2800" dirty="0" smtClean="0"/>
              <a:t>0,000 </a:t>
            </a:r>
            <a:r>
              <a:rPr lang="en-US" sz="2800" dirty="0"/>
              <a:t>people per episode</a:t>
            </a:r>
          </a:p>
          <a:p>
            <a:r>
              <a:rPr lang="en-US" sz="2800" dirty="0"/>
              <a:t>Over </a:t>
            </a:r>
            <a:r>
              <a:rPr lang="en-US" sz="2800" dirty="0" smtClean="0"/>
              <a:t>12</a:t>
            </a:r>
            <a:r>
              <a:rPr lang="en-US" sz="2800" dirty="0" smtClean="0"/>
              <a:t>0 </a:t>
            </a:r>
            <a:r>
              <a:rPr lang="en-US" sz="2800" dirty="0"/>
              <a:t>jobs fulfilled through our meetings</a:t>
            </a:r>
          </a:p>
          <a:p>
            <a:r>
              <a:rPr lang="en-US" sz="2800" dirty="0"/>
              <a:t>100% grassroots</a:t>
            </a:r>
          </a:p>
          <a:p>
            <a:r>
              <a:rPr lang="en-US" sz="2800" dirty="0"/>
              <a:t>No guest speakers, name selling, forced sales pitches</a:t>
            </a:r>
          </a:p>
          <a:p>
            <a:r>
              <a:rPr lang="en-US" sz="2800" dirty="0"/>
              <a:t>Featured in CNN/Money Magazine, WJBK (FOX), WDIV (NBC), WXYT (ABC), 96.3 WDVD, Oakland Press, MLive.com, Detroit Free Press…</a:t>
            </a:r>
          </a:p>
          <a:p>
            <a:r>
              <a:rPr lang="en-US" sz="2800" dirty="0"/>
              <a:t>2010 CBS People’s Choice Blogger of the Year Award (Life section)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sz="28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76692" y="150117"/>
            <a:ext cx="7390615" cy="578084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3600" cap="all" dirty="0" smtClean="0">
                <a:solidFill>
                  <a:srgbClr val="F39900"/>
                </a:solidFill>
                <a:effectLst/>
                <a:latin typeface="Futura Hv" pitchFamily="34" charset="0"/>
              </a:rPr>
              <a:t>So, who </a:t>
            </a:r>
            <a:r>
              <a:rPr lang="en-US" sz="3600" cap="all" dirty="0" err="1" smtClean="0">
                <a:solidFill>
                  <a:srgbClr val="F39900"/>
                </a:solidFill>
                <a:effectLst/>
                <a:latin typeface="Futura Hv" pitchFamily="34" charset="0"/>
              </a:rPr>
              <a:t>areN</a:t>
            </a:r>
            <a:r>
              <a:rPr lang="en-US" sz="3600" cap="all" dirty="0" err="1" smtClean="0">
                <a:solidFill>
                  <a:srgbClr val="F39900"/>
                </a:solidFill>
                <a:latin typeface="Futura Hv" pitchFamily="34" charset="0"/>
              </a:rPr>
              <a:t>’t</a:t>
            </a:r>
            <a:r>
              <a:rPr lang="en-US" sz="3600" cap="all" dirty="0" smtClean="0">
                <a:solidFill>
                  <a:srgbClr val="F39900"/>
                </a:solidFill>
                <a:effectLst/>
                <a:latin typeface="Futura Hv" pitchFamily="34" charset="0"/>
              </a:rPr>
              <a:t> you guys?</a:t>
            </a:r>
            <a:endParaRPr lang="en-US" sz="3600" cap="all" dirty="0" smtClean="0">
              <a:solidFill>
                <a:schemeClr val="bg1"/>
              </a:solidFill>
              <a:effectLst>
                <a:reflection blurRad="6350" stA="40000" endPos="36000" dir="5400000" sy="-100000" algn="bl" rotWithShape="0"/>
              </a:effectLst>
              <a:latin typeface="Futura Bk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idx="4294967295"/>
          </p:nvPr>
        </p:nvSpPr>
        <p:spPr>
          <a:xfrm>
            <a:off x="0" y="292100"/>
            <a:ext cx="8375650" cy="5048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 bwMode="auto">
          <a:xfrm>
            <a:off x="371359" y="1010423"/>
            <a:ext cx="8478838" cy="3640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225425" indent="-225425" algn="l" rtl="0" eaLnBrk="0" fontAlgn="base" hangingPunct="0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-1143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Futura Bk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71500" indent="-168275" algn="l" rtl="0" eaLnBrk="0" fontAlgn="base" hangingPunct="0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100" indent="-114300" algn="l" rtl="0" eaLnBrk="0" fontAlgn="base" hangingPunct="0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Futura Bk" pitchFamily="34" charset="0"/>
              <a:buChar char="–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28700" indent="-174625" algn="l" rtl="0" eaLnBrk="0" fontAlgn="base" hangingPunct="0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Ninjas, Experts, Gurus or Life Coaches</a:t>
            </a:r>
          </a:p>
          <a:p>
            <a:r>
              <a:rPr lang="en-US" sz="2800" dirty="0" smtClean="0"/>
              <a:t>Trying to get you to pay $300 so I can re-write your resume</a:t>
            </a:r>
          </a:p>
          <a:p>
            <a:r>
              <a:rPr lang="en-US" sz="2800" dirty="0" smtClean="0"/>
              <a:t>Trying to sell you something afterward</a:t>
            </a:r>
          </a:p>
          <a:p>
            <a:r>
              <a:rPr lang="en-US" sz="2800" dirty="0" smtClean="0"/>
              <a:t>Someone who will sugarcoat the truth</a:t>
            </a:r>
          </a:p>
          <a:p>
            <a:endParaRPr lang="en-US" sz="2800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4925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76692" y="150117"/>
            <a:ext cx="7390615" cy="578084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pPr algn="ctr">
              <a:lnSpc>
                <a:spcPct val="85000"/>
              </a:lnSpc>
            </a:pPr>
            <a:r>
              <a:rPr lang="en-US" sz="4000" cap="all" dirty="0" smtClean="0">
                <a:solidFill>
                  <a:srgbClr val="F39900"/>
                </a:solidFill>
                <a:latin typeface="Futura Hv" pitchFamily="34" charset="0"/>
              </a:rPr>
              <a:t>In the beginning…</a:t>
            </a:r>
            <a:endParaRPr lang="en-US" sz="4000" cap="all" dirty="0" smtClean="0">
              <a:solidFill>
                <a:schemeClr val="bg1"/>
              </a:solidFill>
              <a:effectLst>
                <a:reflection blurRad="6350" stA="40000" endPos="36000" dir="5400000" sy="-100000" algn="bl" rotWithShape="0"/>
              </a:effectLst>
              <a:latin typeface="Futura Bk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idx="4294967295"/>
          </p:nvPr>
        </p:nvSpPr>
        <p:spPr>
          <a:xfrm>
            <a:off x="0" y="292100"/>
            <a:ext cx="8375650" cy="5048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293" y="728201"/>
            <a:ext cx="5572432" cy="417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672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I. Thou Shall Understand The Importance </a:t>
            </a:r>
            <a:r>
              <a:rPr lang="en-US" sz="3000" dirty="0"/>
              <a:t>o</a:t>
            </a:r>
            <a:r>
              <a:rPr lang="en-US" sz="3000" dirty="0" smtClean="0"/>
              <a:t>f </a:t>
            </a:r>
            <a:br>
              <a:rPr lang="en-US" sz="3000" dirty="0" smtClean="0"/>
            </a:br>
            <a:r>
              <a:rPr lang="en-US" sz="3000" dirty="0" smtClean="0"/>
              <a:t>   Networking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1217164"/>
            <a:ext cx="8370380" cy="294965"/>
          </a:xfrm>
        </p:spPr>
        <p:txBody>
          <a:bodyPr/>
          <a:lstStyle/>
          <a:p>
            <a:r>
              <a:rPr lang="en-US" dirty="0" smtClean="0"/>
              <a:t>It is a relationship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7704" y="2100156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Get off the couch!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how up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Be consistent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on’t network only when you need something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ee: You missed the point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1552" y="996982"/>
            <a:ext cx="2390995" cy="3604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4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II. Beware of False Prophet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30480"/>
            <a:ext cx="8370380" cy="294965"/>
          </a:xfrm>
        </p:spPr>
        <p:txBody>
          <a:bodyPr/>
          <a:lstStyle/>
          <a:p>
            <a:r>
              <a:rPr lang="en-US" dirty="0" smtClean="0"/>
              <a:t>They are everywhere!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7704" y="1790448"/>
            <a:ext cx="4572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Find out which events suck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on’t pay $20 to listen to someone talk about how awesome Twitter i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sk questions to the organizers about what you can expect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on’t give up your contact list to a Florist (see: BNI)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If it isn’t for you, leave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16" y="790575"/>
            <a:ext cx="2743200" cy="356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0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III. Thou Shall Be Prepared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Treat it like an interview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7704" y="1727619"/>
            <a:ext cx="4572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Have cards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(see: Vistaprint.com) 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on’t bring resume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ress appropriately for the venue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Have a focused message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ot - “I do everything!”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Know your audience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362" y="722671"/>
            <a:ext cx="3089031" cy="374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0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IV. Thou Shall </a:t>
            </a:r>
            <a:r>
              <a:rPr lang="en-US" sz="3000" dirty="0"/>
              <a:t>N</a:t>
            </a:r>
            <a:r>
              <a:rPr lang="en-US" sz="3000" dirty="0" smtClean="0"/>
              <a:t>ot </a:t>
            </a:r>
            <a:r>
              <a:rPr lang="en-US" sz="3000" dirty="0"/>
              <a:t>H</a:t>
            </a:r>
            <a:r>
              <a:rPr lang="en-US" sz="3000" dirty="0" smtClean="0"/>
              <a:t>ave Anxiet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Everyone is in the same boat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7704" y="1284078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ravel in pair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Introduce yourself to the event organizer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on’t feel you need to meet everyone in 15 minutes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Relax</a:t>
            </a:r>
          </a:p>
          <a:p>
            <a:pPr marL="285750" indent="-285750" algn="l">
              <a:buFont typeface="Arial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807" y="1002890"/>
            <a:ext cx="2699209" cy="3903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009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V. Thou Shall Not </a:t>
            </a:r>
            <a:r>
              <a:rPr lang="en-US" sz="3000" dirty="0"/>
              <a:t>B</a:t>
            </a:r>
            <a:r>
              <a:rPr lang="en-US" sz="3000" dirty="0" smtClean="0"/>
              <a:t>e “That Guy”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8775" y="745228"/>
            <a:ext cx="8370380" cy="294965"/>
          </a:xfrm>
        </p:spPr>
        <p:txBody>
          <a:bodyPr/>
          <a:lstStyle/>
          <a:p>
            <a:r>
              <a:rPr lang="en-US" dirty="0" smtClean="0"/>
              <a:t>Ever.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7704" y="1318512"/>
            <a:ext cx="799958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Overbearing sales guy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rrogant IT guy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runk guy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Stalker guy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Annoying voicemail guy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e sense of entitlement guy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The b*</a:t>
            </a:r>
            <a:r>
              <a:rPr lang="en-US" dirty="0" err="1" smtClean="0">
                <a:solidFill>
                  <a:schemeClr val="bg1"/>
                </a:solidFill>
              </a:rPr>
              <a:t>llsh</a:t>
            </a:r>
            <a:r>
              <a:rPr lang="en-US" dirty="0" smtClean="0">
                <a:solidFill>
                  <a:schemeClr val="bg1"/>
                </a:solidFill>
              </a:rPr>
              <a:t>*t generator</a:t>
            </a:r>
          </a:p>
          <a:p>
            <a:pPr marL="285750" indent="-285750" algn="l"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MLM guy</a:t>
            </a:r>
          </a:p>
          <a:p>
            <a:pPr algn="l"/>
            <a:endParaRPr lang="en-US" dirty="0">
              <a:solidFill>
                <a:schemeClr val="bg1"/>
              </a:solidFill>
            </a:endParaRPr>
          </a:p>
          <a:p>
            <a:pPr algn="l"/>
            <a:endParaRPr lang="en-US" dirty="0" smtClean="0">
              <a:solidFill>
                <a:schemeClr val="bg1"/>
              </a:solidFill>
            </a:endParaRPr>
          </a:p>
          <a:p>
            <a:pPr algn="l"/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8902" y="1061884"/>
            <a:ext cx="3148384" cy="2866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00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Changing The Rules of Networking&amp;quot;&quot;/&gt;&lt;property id=&quot;20307&quot; value=&quot;472&quot;/&gt;&lt;/object&gt;&lt;object type=&quot;3&quot; unique_id=&quot;10005&quot;&gt;&lt;property id=&quot;20148&quot; value=&quot;5&quot;/&gt;&lt;property id=&quot;20300&quot; value=&quot;Slide 2 - &amp;quot;Corporate overview&amp;quot;&quot;/&gt;&lt;property id=&quot;20307&quot; value=&quot;498&quot;/&gt;&lt;/object&gt;&lt;object type=&quot;3&quot; unique_id=&quot;10006&quot;&gt;&lt;property id=&quot;20148&quot; value=&quot;5&quot;/&gt;&lt;property id=&quot;20300&quot; value=&quot;Slide 3 - &amp;quot;Global mega trends of the Instant-On Enterprise&amp;#x0D;&amp;#x0A;&amp;quot;&quot;/&gt;&lt;property id=&quot;20307&quot; value=&quot;500&quot;/&gt;&lt;/object&gt;&lt;object type=&quot;3&quot; unique_id=&quot;10007&quot;&gt;&lt;property id=&quot;20148&quot; value=&quot;5&quot;/&gt;&lt;property id=&quot;20300&quot; value=&quot;Slide 4 - &amp;quot;The Instant-On Enterprise&amp;quot;&quot;/&gt;&lt;property id=&quot;20307&quot; value=&quot;501&quot;/&gt;&lt;/object&gt;&lt;object type=&quot;3&quot; unique_id=&quot;10008&quot;&gt;&lt;property id=&quot;20148&quot; value=&quot;5&quot;/&gt;&lt;property id=&quot;20300&quot; value=&quot;Slide 5 - &amp;quot;Path to the Instant-On Enterprise: Converged Infrastructure&amp;#x0D;&amp;#x0A;&amp;quot;&quot;/&gt;&lt;property id=&quot;20307&quot; value=&quot;502&quot;/&gt;&lt;/object&gt;&lt;object type=&quot;3&quot; unique_id=&quot;10009&quot;&gt;&lt;property id=&quot;20148&quot; value=&quot;5&quot;/&gt;&lt;property id=&quot;20300&quot; value=&quot;Slide 7 - &amp;quot;Networking is key to converged infrastructure&amp;quot;&quot;/&gt;&lt;property id=&quot;20307&quot; value=&quot;503&quot;/&gt;&lt;/object&gt;&lt;object type=&quot;3&quot; unique_id=&quot;10010&quot;&gt;&lt;property id=&quot;20148&quot; value=&quot;5&quot;/&gt;&lt;property id=&quot;20300&quot; value=&quot;Slide 8 - &amp;quot;Challenges are everywhere&amp;quot;&quot;/&gt;&lt;property id=&quot;20307&quot; value=&quot;504&quot;/&gt;&lt;/object&gt;&lt;object type=&quot;3&quot; unique_id=&quot;10011&quot;&gt;&lt;property id=&quot;20148&quot; value=&quot;5&quot;/&gt;&lt;property id=&quot;20300&quot; value=&quot;Slide 9 - &amp;quot;Changing the rules of networking&amp;quot;&quot;/&gt;&lt;property id=&quot;20307&quot; value=&quot;505&quot;/&gt;&lt;/object&gt;&lt;object type=&quot;3&quot; unique_id=&quot;10012&quot;&gt;&lt;property id=&quot;20148&quot; value=&quot;5&quot;/&gt;&lt;property id=&quot;20300&quot; value=&quot;Slide 10 - &amp;quot;Data center to edge solutions&amp;quot;&quot;/&gt;&lt;property id=&quot;20307&quot; value=&quot;506&quot;/&gt;&lt;/object&gt;&lt;object type=&quot;3&quot; unique_id=&quot;10013&quot;&gt;&lt;property id=&quot;20148&quot; value=&quot;5&quot;/&gt;&lt;property id=&quot;20300&quot; value=&quot;Slide 11 - &amp;quot;Broad networking portfolio: data center to edge&amp;quot;&quot;/&gt;&lt;property id=&quot;20307&quot; value=&quot;507&quot;/&gt;&lt;/object&gt;&lt;object type=&quot;3&quot; unique_id=&quot;10016&quot;&gt;&lt;property id=&quot;20148&quot; value=&quot;5&quot;/&gt;&lt;property id=&quot;20300&quot; value=&quot;Slide 14 - &amp;quot;Secure&amp;quot;&quot;/&gt;&lt;property id=&quot;20307&quot; value=&quot;510&quot;/&gt;&lt;/object&gt;&lt;object type=&quot;3&quot; unique_id=&quot;10017&quot;&gt;&lt;property id=&quot;20148&quot; value=&quot;5&quot;/&gt;&lt;property id=&quot;20300&quot; value=&quot;Slide 15 - &amp;quot;Secure&amp;quot;&quot;/&gt;&lt;property id=&quot;20307&quot; value=&quot;511&quot;/&gt;&lt;/object&gt;&lt;object type=&quot;3&quot; unique_id=&quot;10018&quot;&gt;&lt;property id=&quot;20148&quot; value=&quot;5&quot;/&gt;&lt;property id=&quot;20300&quot; value=&quot;Slide 16 - &amp;quot;Agile service delivery&amp;quot;&quot;/&gt;&lt;property id=&quot;20307&quot; value=&quot;512&quot;/&gt;&lt;/object&gt;&lt;object type=&quot;3&quot; unique_id=&quot;10019&quot;&gt;&lt;property id=&quot;20148&quot; value=&quot;5&quot;/&gt;&lt;property id=&quot;20300&quot; value=&quot;Slide 17 - &amp;quot;Lower TCO by up to 66%&amp;quot;&quot;/&gt;&lt;property id=&quot;20307&quot; value=&quot;513&quot;/&gt;&lt;/object&gt;&lt;object type=&quot;3&quot; unique_id=&quot;10020&quot;&gt;&lt;property id=&quot;20148&quot; value=&quot;5&quot;/&gt;&lt;property id=&quot;20300&quot; value=&quot;Slide 18 - &amp;quot;Lower TCO&amp;quot;&quot;/&gt;&lt;property id=&quot;20307&quot; value=&quot;514&quot;/&gt;&lt;/object&gt;&lt;object type=&quot;3&quot; unique_id=&quot;10021&quot;&gt;&lt;property id=&quot;20148&quot; value=&quot;5&quot;/&gt;&lt;property id=&quot;20300&quot; value=&quot;Slide 19 - &amp;quot;Education&amp;quot;&quot;/&gt;&lt;property id=&quot;20307&quot; value=&quot;515&quot;/&gt;&lt;/object&gt;&lt;object type=&quot;3&quot; unique_id=&quot;10022&quot;&gt;&lt;property id=&quot;20148&quot; value=&quot;5&quot;/&gt;&lt;property id=&quot;20300&quot; value=&quot;Slide 20 - &amp;quot;Technical and business services&amp;#x0D;&amp;#x0A;&amp;quot;&quot;/&gt;&lt;property id=&quot;20307&quot; value=&quot;516&quot;/&gt;&lt;/object&gt;&lt;object type=&quot;3&quot; unique_id=&quot;10023&quot;&gt;&lt;property id=&quot;20148&quot; value=&quot;5&quot;/&gt;&lt;property id=&quot;20300&quot; value=&quot;Slide 21 - &amp;quot;HP Networking industry recognition&amp;quot;&quot;/&gt;&lt;property id=&quot;20307&quot; value=&quot;517&quot;/&gt;&lt;/object&gt;&lt;object type=&quot;3&quot; unique_id=&quot;10024&quot;&gt;&lt;property id=&quot;20148&quot; value=&quot;5&quot;/&gt;&lt;property id=&quot;20300&quot; value=&quot;Slide 22 - &amp;quot;We want to earn your business&amp;quot;&quot;/&gt;&lt;property id=&quot;20307&quot; value=&quot;518&quot;/&gt;&lt;/object&gt;&lt;object type=&quot;3&quot; unique_id=&quot;10292&quot;&gt;&lt;property id=&quot;20148&quot; value=&quot;5&quot;/&gt;&lt;property id=&quot;20300&quot; value=&quot;Slide 12 - &amp;quot;Legacy Architectures&amp;quot;&quot;/&gt;&lt;property id=&quot;20307&quot; value=&quot;519&quot;/&gt;&lt;/object&gt;&lt;object type=&quot;3&quot; unique_id=&quot;10293&quot;&gt;&lt;property id=&quot;20148&quot; value=&quot;5&quot;/&gt;&lt;property id=&quot;20300&quot; value=&quot;Slide 13 - &amp;quot;Advanced Architectures&amp;quot;&quot;/&gt;&lt;property id=&quot;20307&quot; value=&quot;520&quot;/&gt;&lt;/object&gt;&lt;object type=&quot;3&quot; unique_id=&quot;10678&quot;&gt;&lt;property id=&quot;20148&quot; value=&quot;5&quot;/&gt;&lt;property id=&quot;20300&quot; value=&quot;Slide 6 - &amp;quot;Networking Convergence Is Inevitable&amp;quot;&quot;/&gt;&lt;property id=&quot;20307&quot; value=&quot;521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IvOJ7FX0aFcoBAd7p4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Jk49qiOEq8St19jX9H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IvOJ7FX0aFcoBAd7p4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Jk49qiOEq8St19jX9HFg"/>
</p:tagLst>
</file>

<file path=ppt/theme/theme1.xml><?xml version="1.0" encoding="utf-8"?>
<a:theme xmlns:a="http://schemas.openxmlformats.org/drawingml/2006/main" name="HP_Angle_Dark_4x3_Blue Short-1">
  <a:themeElements>
    <a:clrScheme name="HP- EB - Palette">
      <a:dk1>
        <a:srgbClr val="000000"/>
      </a:dk1>
      <a:lt1>
        <a:sysClr val="window" lastClr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4FAF00"/>
      </a:accent3>
      <a:accent4>
        <a:srgbClr val="EB5F01"/>
      </a:accent4>
      <a:accent5>
        <a:srgbClr val="990000"/>
      </a:accent5>
      <a:accent6>
        <a:srgbClr val="000000"/>
      </a:accent6>
      <a:hlink>
        <a:srgbClr val="0098F6"/>
      </a:hlink>
      <a:folHlink>
        <a:srgbClr val="EB5F01"/>
      </a:folHlink>
    </a:clrScheme>
    <a:fontScheme name="Custom 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85000">
              <a:srgbClr val="00104D"/>
            </a:gs>
            <a:gs pos="15000">
              <a:srgbClr val="1E89C5"/>
            </a:gs>
          </a:gsLst>
          <a:path path="circle">
            <a:fillToRect l="100000" b="100000"/>
          </a:path>
          <a:tileRect t="-100000" r="-100000"/>
        </a:gradFill>
        <a:ln>
          <a:noFill/>
        </a:ln>
        <a:effectLst/>
      </a:spPr>
      <a:bodyPr lIns="91440" tIns="45720" rtlCol="0" anchor="ctr"/>
      <a:lstStyle>
        <a:defPPr algn="ctr">
          <a:lnSpc>
            <a:spcPct val="85000"/>
          </a:lnSpc>
          <a:defRPr sz="2000" dirty="0" smtClean="0">
            <a:solidFill>
              <a:prstClr val="white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FFFFFF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 dirty="0" err="1" smtClean="0">
            <a:latin typeface="+mj-lt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9_HP_Angle_Dark_4x3_Blue Short-1">
  <a:themeElements>
    <a:clrScheme name="9_HP_Angle_Dark_4x3_Blue Short-1 1">
      <a:dk1>
        <a:srgbClr val="000000"/>
      </a:dk1>
      <a:lt1>
        <a:srgbClr val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FFFFFF"/>
      </a:accent3>
      <a:accent4>
        <a:srgbClr val="000000"/>
      </a:accent4>
      <a:accent5>
        <a:srgbClr val="B3C7E3"/>
      </a:accent5>
      <a:accent6>
        <a:srgbClr val="244D81"/>
      </a:accent6>
      <a:hlink>
        <a:srgbClr val="0098F6"/>
      </a:hlink>
      <a:folHlink>
        <a:srgbClr val="EB5F01"/>
      </a:folHlink>
    </a:clrScheme>
    <a:fontScheme name="9_HP_Angle_Dark_4x3_Blue Short-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HP_Angle_Dark_4x3_Blue Short-1 1">
        <a:dk1>
          <a:srgbClr val="000000"/>
        </a:dk1>
        <a:lt1>
          <a:srgbClr val="FFFFFF"/>
        </a:lt1>
        <a:dk2>
          <a:srgbClr val="898B8F"/>
        </a:dk2>
        <a:lt2>
          <a:srgbClr val="3D393B"/>
        </a:lt2>
        <a:accent1>
          <a:srgbClr val="5191CD"/>
        </a:accent1>
        <a:accent2>
          <a:srgbClr val="29568F"/>
        </a:accent2>
        <a:accent3>
          <a:srgbClr val="FFFFFF"/>
        </a:accent3>
        <a:accent4>
          <a:srgbClr val="000000"/>
        </a:accent4>
        <a:accent5>
          <a:srgbClr val="B3C7E3"/>
        </a:accent5>
        <a:accent6>
          <a:srgbClr val="244D81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WC_SecretWeaponsTemplate">
  <a:themeElements>
    <a:clrScheme name="1_RWC_SecretWeaponsTemplate 1">
      <a:dk1>
        <a:srgbClr val="000000"/>
      </a:dk1>
      <a:lt1>
        <a:srgbClr val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FFFFFF"/>
      </a:accent3>
      <a:accent4>
        <a:srgbClr val="000000"/>
      </a:accent4>
      <a:accent5>
        <a:srgbClr val="B3C7E3"/>
      </a:accent5>
      <a:accent6>
        <a:srgbClr val="244D81"/>
      </a:accent6>
      <a:hlink>
        <a:srgbClr val="0098F6"/>
      </a:hlink>
      <a:folHlink>
        <a:srgbClr val="EB5F01"/>
      </a:folHlink>
    </a:clrScheme>
    <a:fontScheme name="1_RWC_SecretWeaponsTemplate">
      <a:majorFont>
        <a:latin typeface="Futura Bk"/>
        <a:ea typeface="ＭＳ Ｐゴシック"/>
        <a:cs typeface=""/>
      </a:majorFont>
      <a:minorFont>
        <a:latin typeface="Futura Bk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RWC_SecretWeaponsTemplate 1">
        <a:dk1>
          <a:srgbClr val="000000"/>
        </a:dk1>
        <a:lt1>
          <a:srgbClr val="FFFFFF"/>
        </a:lt1>
        <a:dk2>
          <a:srgbClr val="898B8F"/>
        </a:dk2>
        <a:lt2>
          <a:srgbClr val="3D393B"/>
        </a:lt2>
        <a:accent1>
          <a:srgbClr val="5191CD"/>
        </a:accent1>
        <a:accent2>
          <a:srgbClr val="29568F"/>
        </a:accent2>
        <a:accent3>
          <a:srgbClr val="FFFFFF"/>
        </a:accent3>
        <a:accent4>
          <a:srgbClr val="000000"/>
        </a:accent4>
        <a:accent5>
          <a:srgbClr val="B3C7E3"/>
        </a:accent5>
        <a:accent6>
          <a:srgbClr val="244D81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HP Theme">
  <a:themeElements>
    <a:clrScheme name="3_HP Theme 1">
      <a:dk1>
        <a:srgbClr val="FFFFFF"/>
      </a:dk1>
      <a:lt1>
        <a:srgbClr val="FFFFFF"/>
      </a:lt1>
      <a:dk2>
        <a:srgbClr val="000000"/>
      </a:dk2>
      <a:lt2>
        <a:srgbClr val="BFBFBF"/>
      </a:lt2>
      <a:accent1>
        <a:srgbClr val="0098F6"/>
      </a:accent1>
      <a:accent2>
        <a:srgbClr val="92D050"/>
      </a:accent2>
      <a:accent3>
        <a:srgbClr val="FFFFFF"/>
      </a:accent3>
      <a:accent4>
        <a:srgbClr val="DADADA"/>
      </a:accent4>
      <a:accent5>
        <a:srgbClr val="AACAFA"/>
      </a:accent5>
      <a:accent6>
        <a:srgbClr val="84BC48"/>
      </a:accent6>
      <a:hlink>
        <a:srgbClr val="0098F6"/>
      </a:hlink>
      <a:folHlink>
        <a:srgbClr val="EB5F01"/>
      </a:folHlink>
    </a:clrScheme>
    <a:fontScheme name="3_HP Theme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HP Theme 1">
        <a:dk1>
          <a:srgbClr val="FFFFFF"/>
        </a:dk1>
        <a:lt1>
          <a:srgbClr val="FFFFFF"/>
        </a:lt1>
        <a:dk2>
          <a:srgbClr val="000000"/>
        </a:dk2>
        <a:lt2>
          <a:srgbClr val="BFBFBF"/>
        </a:lt2>
        <a:accent1>
          <a:srgbClr val="0098F6"/>
        </a:accent1>
        <a:accent2>
          <a:srgbClr val="92D050"/>
        </a:accent2>
        <a:accent3>
          <a:srgbClr val="FFFFFF"/>
        </a:accent3>
        <a:accent4>
          <a:srgbClr val="DADADA"/>
        </a:accent4>
        <a:accent5>
          <a:srgbClr val="AACAFA"/>
        </a:accent5>
        <a:accent6>
          <a:srgbClr val="84BC48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RWC_SecretWeaponsTemplate">
  <a:themeElements>
    <a:clrScheme name="RWC_SecretWeaponsTemplate 1">
      <a:dk1>
        <a:srgbClr val="000000"/>
      </a:dk1>
      <a:lt1>
        <a:srgbClr val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FFFFFF"/>
      </a:accent3>
      <a:accent4>
        <a:srgbClr val="000000"/>
      </a:accent4>
      <a:accent5>
        <a:srgbClr val="B3C7E3"/>
      </a:accent5>
      <a:accent6>
        <a:srgbClr val="244D81"/>
      </a:accent6>
      <a:hlink>
        <a:srgbClr val="0098F6"/>
      </a:hlink>
      <a:folHlink>
        <a:srgbClr val="EB5F01"/>
      </a:folHlink>
    </a:clrScheme>
    <a:fontScheme name="RWC_SecretWeaponsTemplate">
      <a:majorFont>
        <a:latin typeface="Futura Bk"/>
        <a:ea typeface="ＭＳ Ｐゴシック"/>
        <a:cs typeface=""/>
      </a:majorFont>
      <a:minorFont>
        <a:latin typeface="Futura Bk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WC_SecretWeaponsTemplate 1">
        <a:dk1>
          <a:srgbClr val="000000"/>
        </a:dk1>
        <a:lt1>
          <a:srgbClr val="FFFFFF"/>
        </a:lt1>
        <a:dk2>
          <a:srgbClr val="898B8F"/>
        </a:dk2>
        <a:lt2>
          <a:srgbClr val="3D393B"/>
        </a:lt2>
        <a:accent1>
          <a:srgbClr val="5191CD"/>
        </a:accent1>
        <a:accent2>
          <a:srgbClr val="29568F"/>
        </a:accent2>
        <a:accent3>
          <a:srgbClr val="FFFFFF"/>
        </a:accent3>
        <a:accent4>
          <a:srgbClr val="000000"/>
        </a:accent4>
        <a:accent5>
          <a:srgbClr val="B3C7E3"/>
        </a:accent5>
        <a:accent6>
          <a:srgbClr val="244D81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HP Theme">
  <a:themeElements>
    <a:clrScheme name="5_HP Theme 1">
      <a:dk1>
        <a:srgbClr val="FFFFFF"/>
      </a:dk1>
      <a:lt1>
        <a:srgbClr val="FFFFFF"/>
      </a:lt1>
      <a:dk2>
        <a:srgbClr val="000000"/>
      </a:dk2>
      <a:lt2>
        <a:srgbClr val="BFBFBF"/>
      </a:lt2>
      <a:accent1>
        <a:srgbClr val="0098F6"/>
      </a:accent1>
      <a:accent2>
        <a:srgbClr val="92D050"/>
      </a:accent2>
      <a:accent3>
        <a:srgbClr val="FFFFFF"/>
      </a:accent3>
      <a:accent4>
        <a:srgbClr val="DADADA"/>
      </a:accent4>
      <a:accent5>
        <a:srgbClr val="AACAFA"/>
      </a:accent5>
      <a:accent6>
        <a:srgbClr val="84BC48"/>
      </a:accent6>
      <a:hlink>
        <a:srgbClr val="0098F6"/>
      </a:hlink>
      <a:folHlink>
        <a:srgbClr val="EB5F01"/>
      </a:folHlink>
    </a:clrScheme>
    <a:fontScheme name="5_HP Theme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HP Theme 1">
        <a:dk1>
          <a:srgbClr val="FFFFFF"/>
        </a:dk1>
        <a:lt1>
          <a:srgbClr val="FFFFFF"/>
        </a:lt1>
        <a:dk2>
          <a:srgbClr val="000000"/>
        </a:dk2>
        <a:lt2>
          <a:srgbClr val="BFBFBF"/>
        </a:lt2>
        <a:accent1>
          <a:srgbClr val="0098F6"/>
        </a:accent1>
        <a:accent2>
          <a:srgbClr val="92D050"/>
        </a:accent2>
        <a:accent3>
          <a:srgbClr val="FFFFFF"/>
        </a:accent3>
        <a:accent4>
          <a:srgbClr val="DADADA"/>
        </a:accent4>
        <a:accent5>
          <a:srgbClr val="AACAFA"/>
        </a:accent5>
        <a:accent6>
          <a:srgbClr val="84BC48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HP_Angle_Dark_4x3_Blue Short-1">
  <a:themeElements>
    <a:clrScheme name="1_HP_Angle_Dark_4x3_Blue Short-1 1">
      <a:dk1>
        <a:srgbClr val="000000"/>
      </a:dk1>
      <a:lt1>
        <a:srgbClr val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FFFFFF"/>
      </a:accent3>
      <a:accent4>
        <a:srgbClr val="000000"/>
      </a:accent4>
      <a:accent5>
        <a:srgbClr val="B3C7E3"/>
      </a:accent5>
      <a:accent6>
        <a:srgbClr val="244D81"/>
      </a:accent6>
      <a:hlink>
        <a:srgbClr val="0098F6"/>
      </a:hlink>
      <a:folHlink>
        <a:srgbClr val="EB5F01"/>
      </a:folHlink>
    </a:clrScheme>
    <a:fontScheme name="1_HP_Angle_Dark_4x3_Blue Short-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HP_Angle_Dark_4x3_Blue Short-1 1">
        <a:dk1>
          <a:srgbClr val="000000"/>
        </a:dk1>
        <a:lt1>
          <a:srgbClr val="FFFFFF"/>
        </a:lt1>
        <a:dk2>
          <a:srgbClr val="898B8F"/>
        </a:dk2>
        <a:lt2>
          <a:srgbClr val="3D393B"/>
        </a:lt2>
        <a:accent1>
          <a:srgbClr val="5191CD"/>
        </a:accent1>
        <a:accent2>
          <a:srgbClr val="29568F"/>
        </a:accent2>
        <a:accent3>
          <a:srgbClr val="FFFFFF"/>
        </a:accent3>
        <a:accent4>
          <a:srgbClr val="000000"/>
        </a:accent4>
        <a:accent5>
          <a:srgbClr val="B3C7E3"/>
        </a:accent5>
        <a:accent6>
          <a:srgbClr val="244D81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HP_Angle_Dark_4x3_Blue Short-1">
  <a:themeElements>
    <a:clrScheme name="2_HP_Angle_Dark_4x3_Blue Short-1 1">
      <a:dk1>
        <a:srgbClr val="000000"/>
      </a:dk1>
      <a:lt1>
        <a:srgbClr val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FFFFFF"/>
      </a:accent3>
      <a:accent4>
        <a:srgbClr val="000000"/>
      </a:accent4>
      <a:accent5>
        <a:srgbClr val="B3C7E3"/>
      </a:accent5>
      <a:accent6>
        <a:srgbClr val="244D81"/>
      </a:accent6>
      <a:hlink>
        <a:srgbClr val="0098F6"/>
      </a:hlink>
      <a:folHlink>
        <a:srgbClr val="EB5F01"/>
      </a:folHlink>
    </a:clrScheme>
    <a:fontScheme name="2_HP_Angle_Dark_4x3_Blue Short-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HP_Angle_Dark_4x3_Blue Short-1 1">
        <a:dk1>
          <a:srgbClr val="000000"/>
        </a:dk1>
        <a:lt1>
          <a:srgbClr val="FFFFFF"/>
        </a:lt1>
        <a:dk2>
          <a:srgbClr val="898B8F"/>
        </a:dk2>
        <a:lt2>
          <a:srgbClr val="3D393B"/>
        </a:lt2>
        <a:accent1>
          <a:srgbClr val="5191CD"/>
        </a:accent1>
        <a:accent2>
          <a:srgbClr val="29568F"/>
        </a:accent2>
        <a:accent3>
          <a:srgbClr val="FFFFFF"/>
        </a:accent3>
        <a:accent4>
          <a:srgbClr val="000000"/>
        </a:accent4>
        <a:accent5>
          <a:srgbClr val="B3C7E3"/>
        </a:accent5>
        <a:accent6>
          <a:srgbClr val="244D81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HP_Angle_Dark_4x3_Blue Short-1">
  <a:themeElements>
    <a:clrScheme name="3_HP_Angle_Dark_4x3_Blue Short-1 1">
      <a:dk1>
        <a:srgbClr val="000000"/>
      </a:dk1>
      <a:lt1>
        <a:srgbClr val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FFFFFF"/>
      </a:accent3>
      <a:accent4>
        <a:srgbClr val="000000"/>
      </a:accent4>
      <a:accent5>
        <a:srgbClr val="B3C7E3"/>
      </a:accent5>
      <a:accent6>
        <a:srgbClr val="244D81"/>
      </a:accent6>
      <a:hlink>
        <a:srgbClr val="0098F6"/>
      </a:hlink>
      <a:folHlink>
        <a:srgbClr val="EB5F01"/>
      </a:folHlink>
    </a:clrScheme>
    <a:fontScheme name="3_HP_Angle_Dark_4x3_Blue Short-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HP_Angle_Dark_4x3_Blue Short-1 1">
        <a:dk1>
          <a:srgbClr val="000000"/>
        </a:dk1>
        <a:lt1>
          <a:srgbClr val="FFFFFF"/>
        </a:lt1>
        <a:dk2>
          <a:srgbClr val="898B8F"/>
        </a:dk2>
        <a:lt2>
          <a:srgbClr val="3D393B"/>
        </a:lt2>
        <a:accent1>
          <a:srgbClr val="5191CD"/>
        </a:accent1>
        <a:accent2>
          <a:srgbClr val="29568F"/>
        </a:accent2>
        <a:accent3>
          <a:srgbClr val="FFFFFF"/>
        </a:accent3>
        <a:accent4>
          <a:srgbClr val="000000"/>
        </a:accent4>
        <a:accent5>
          <a:srgbClr val="B3C7E3"/>
        </a:accent5>
        <a:accent6>
          <a:srgbClr val="244D81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HP_Angle_Dark_4x3_Blue Short-1">
  <a:themeElements>
    <a:clrScheme name="4_HP_Angle_Dark_4x3_Blue Short-1 1">
      <a:dk1>
        <a:srgbClr val="000000"/>
      </a:dk1>
      <a:lt1>
        <a:srgbClr val="FFFFFF"/>
      </a:lt1>
      <a:dk2>
        <a:srgbClr val="898B8F"/>
      </a:dk2>
      <a:lt2>
        <a:srgbClr val="3D393B"/>
      </a:lt2>
      <a:accent1>
        <a:srgbClr val="5191CD"/>
      </a:accent1>
      <a:accent2>
        <a:srgbClr val="29568F"/>
      </a:accent2>
      <a:accent3>
        <a:srgbClr val="FFFFFF"/>
      </a:accent3>
      <a:accent4>
        <a:srgbClr val="000000"/>
      </a:accent4>
      <a:accent5>
        <a:srgbClr val="B3C7E3"/>
      </a:accent5>
      <a:accent6>
        <a:srgbClr val="244D81"/>
      </a:accent6>
      <a:hlink>
        <a:srgbClr val="0098F6"/>
      </a:hlink>
      <a:folHlink>
        <a:srgbClr val="EB5F01"/>
      </a:folHlink>
    </a:clrScheme>
    <a:fontScheme name="4_HP_Angle_Dark_4x3_Blue Short-1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HP_Angle_Dark_4x3_Blue Short-1 1">
        <a:dk1>
          <a:srgbClr val="000000"/>
        </a:dk1>
        <a:lt1>
          <a:srgbClr val="FFFFFF"/>
        </a:lt1>
        <a:dk2>
          <a:srgbClr val="898B8F"/>
        </a:dk2>
        <a:lt2>
          <a:srgbClr val="3D393B"/>
        </a:lt2>
        <a:accent1>
          <a:srgbClr val="5191CD"/>
        </a:accent1>
        <a:accent2>
          <a:srgbClr val="29568F"/>
        </a:accent2>
        <a:accent3>
          <a:srgbClr val="FFFFFF"/>
        </a:accent3>
        <a:accent4>
          <a:srgbClr val="000000"/>
        </a:accent4>
        <a:accent5>
          <a:srgbClr val="B3C7E3"/>
        </a:accent5>
        <a:accent6>
          <a:srgbClr val="244D81"/>
        </a:accent6>
        <a:hlink>
          <a:srgbClr val="0098F6"/>
        </a:hlink>
        <a:folHlink>
          <a:srgbClr val="EB5F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P_Angle_Dark_4x3_Blue Short-1</Template>
  <TotalTime>21905</TotalTime>
  <Words>682</Words>
  <Application>Microsoft Office PowerPoint</Application>
  <PresentationFormat>On-screen Show (16:9)</PresentationFormat>
  <Paragraphs>117</Paragraphs>
  <Slides>17</Slides>
  <Notes>17</Notes>
  <HiddenSlides>0</HiddenSlides>
  <MMClips>0</MMClips>
  <ScaleCrop>false</ScaleCrop>
  <HeadingPairs>
    <vt:vector size="4" baseType="variant">
      <vt:variant>
        <vt:lpstr>Theme</vt:lpstr>
      </vt:variant>
      <vt:variant>
        <vt:i4>10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HP_Angle_Dark_4x3_Blue Short-1</vt:lpstr>
      <vt:lpstr>1_RWC_SecretWeaponsTemplate</vt:lpstr>
      <vt:lpstr>3_HP Theme</vt:lpstr>
      <vt:lpstr>RWC_SecretWeaponsTemplate</vt:lpstr>
      <vt:lpstr>5_HP Theme</vt:lpstr>
      <vt:lpstr>1_HP_Angle_Dark_4x3_Blue Short-1</vt:lpstr>
      <vt:lpstr>2_HP_Angle_Dark_4x3_Blue Short-1</vt:lpstr>
      <vt:lpstr>3_HP_Angle_Dark_4x3_Blue Short-1</vt:lpstr>
      <vt:lpstr>4_HP_Angle_Dark_4x3_Blue Short-1</vt:lpstr>
      <vt:lpstr>9_HP_Angle_Dark_4x3_Blue Short-1</vt:lpstr>
      <vt:lpstr>PowerPoint Presentation</vt:lpstr>
      <vt:lpstr> </vt:lpstr>
      <vt:lpstr> </vt:lpstr>
      <vt:lpstr> </vt:lpstr>
      <vt:lpstr>I. Thou Shall Understand The Importance of     Networking</vt:lpstr>
      <vt:lpstr>II. Beware of False Prophets</vt:lpstr>
      <vt:lpstr>III. Thou Shall Be Prepared</vt:lpstr>
      <vt:lpstr>IV. Thou Shall Not Have Anxiety</vt:lpstr>
      <vt:lpstr>V. Thou Shall Not Be “That Guy”</vt:lpstr>
      <vt:lpstr>VI. Thou Shall Not Have an Elevator Pitch</vt:lpstr>
      <vt:lpstr>VII. Thou Shall Not Lie</vt:lpstr>
      <vt:lpstr>VIII. Thou Shall Understand Quality vs. Quantity</vt:lpstr>
      <vt:lpstr>IX. Thou Shall Understand Social Media</vt:lpstr>
      <vt:lpstr>X. Thou Shall Follow Up</vt:lpstr>
      <vt:lpstr>Call to Action…</vt:lpstr>
      <vt:lpstr>If you’re looking…</vt:lpstr>
      <vt:lpstr>PowerPoint Presentation</vt:lpstr>
    </vt:vector>
  </TitlesOfParts>
  <Manager>Holly Garcia</Manager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roitnet.org 10 Commandments of Networking</dc:title>
  <dc:creator>Detroitnet.org</dc:creator>
  <dc:description>nicole.sanchez@hp.com_x000d_
(408) 655-2359</dc:description>
  <cp:lastModifiedBy>Phillips, Dave (D.)</cp:lastModifiedBy>
  <cp:revision>970</cp:revision>
  <dcterms:created xsi:type="dcterms:W3CDTF">2010-06-30T21:41:49Z</dcterms:created>
  <dcterms:modified xsi:type="dcterms:W3CDTF">2015-04-21T19:55:56Z</dcterms:modified>
</cp:coreProperties>
</file>